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5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6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7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24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4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2.xml" ContentType="application/vnd.openxmlformats-officedocument.drawingml.chartshapes+xml"/>
  <Override PartName="/ppt/notesSlides/notesSlide1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6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7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8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00" r:id="rId2"/>
    <p:sldMasterId id="2147483714" r:id="rId3"/>
    <p:sldMasterId id="2147483728" r:id="rId4"/>
    <p:sldMasterId id="2147483753" r:id="rId5"/>
    <p:sldMasterId id="2147483778" r:id="rId6"/>
    <p:sldMasterId id="2147483803" r:id="rId7"/>
  </p:sldMasterIdLst>
  <p:notesMasterIdLst>
    <p:notesMasterId r:id="rId31"/>
  </p:notesMasterIdLst>
  <p:handoutMasterIdLst>
    <p:handoutMasterId r:id="rId32"/>
  </p:handoutMasterIdLst>
  <p:sldIdLst>
    <p:sldId id="261" r:id="rId8"/>
    <p:sldId id="763" r:id="rId9"/>
    <p:sldId id="764" r:id="rId10"/>
    <p:sldId id="765" r:id="rId11"/>
    <p:sldId id="766" r:id="rId12"/>
    <p:sldId id="767" r:id="rId13"/>
    <p:sldId id="734" r:id="rId14"/>
    <p:sldId id="745" r:id="rId15"/>
    <p:sldId id="744" r:id="rId16"/>
    <p:sldId id="736" r:id="rId17"/>
    <p:sldId id="748" r:id="rId18"/>
    <p:sldId id="760" r:id="rId19"/>
    <p:sldId id="749" r:id="rId20"/>
    <p:sldId id="753" r:id="rId21"/>
    <p:sldId id="754" r:id="rId22"/>
    <p:sldId id="761" r:id="rId23"/>
    <p:sldId id="756" r:id="rId24"/>
    <p:sldId id="755" r:id="rId25"/>
    <p:sldId id="762" r:id="rId26"/>
    <p:sldId id="758" r:id="rId27"/>
    <p:sldId id="759" r:id="rId28"/>
    <p:sldId id="684" r:id="rId29"/>
    <p:sldId id="743" r:id="rId30"/>
  </p:sldIdLst>
  <p:sldSz cx="9144000" cy="6858000" type="screen4x3"/>
  <p:notesSz cx="7023100" cy="93091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3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A12D"/>
    <a:srgbClr val="40608E"/>
    <a:srgbClr val="0066FF"/>
    <a:srgbClr val="1095BE"/>
    <a:srgbClr val="FFC600"/>
    <a:srgbClr val="4F81BD"/>
    <a:srgbClr val="FFFF00"/>
    <a:srgbClr val="5A7BD8"/>
    <a:srgbClr val="FF0000"/>
    <a:srgbClr val="4188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3" autoAdjust="0"/>
    <p:restoredTop sz="91515" autoAdjust="0"/>
  </p:normalViewPr>
  <p:slideViewPr>
    <p:cSldViewPr>
      <p:cViewPr varScale="1">
        <p:scale>
          <a:sx n="78" d="100"/>
          <a:sy n="78" d="100"/>
        </p:scale>
        <p:origin x="1411" y="62"/>
      </p:cViewPr>
      <p:guideLst>
        <p:guide orient="horz" pos="3838"/>
        <p:guide orient="horz" pos="890"/>
        <p:guide pos="5602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howGuides="1">
      <p:cViewPr varScale="1">
        <p:scale>
          <a:sx n="64" d="100"/>
          <a:sy n="64" d="100"/>
        </p:scale>
        <p:origin x="2227" y="62"/>
      </p:cViewPr>
      <p:guideLst>
        <p:guide orient="horz" pos="2933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notesMaster" Target="notesMasters/notesMaster1.xml"/><Relationship Id="rId156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viewProps" Target="viewProps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5"/>
            <c:invertIfNegative val="0"/>
            <c:bubble3D val="0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6"/>
            <c:invertIfNegative val="0"/>
            <c:bubble3D val="0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7"/>
            <c:invertIfNegative val="0"/>
            <c:bubble3D val="0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8"/>
            <c:invertIfNegative val="0"/>
            <c:bubble3D val="0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0"/>
            <c:invertIfNegative val="0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1"/>
            <c:invertIfNegative val="0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2"/>
            <c:invertIfNegative val="0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3"/>
            <c:invertIfNegative val="0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4"/>
            <c:invertIfNegative val="0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5"/>
            <c:invertIfNegative val="0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cat>
            <c:strRef>
              <c:f>Sheet1!$A$45:$A$60</c:f>
              <c:strCache>
                <c:ptCount val="16"/>
                <c:pt idx="0">
                  <c:v>Diamond</c:v>
                </c:pt>
                <c:pt idx="1">
                  <c:v>Quarts</c:v>
                </c:pt>
                <c:pt idx="2">
                  <c:v>Hyola 50 </c:v>
                </c:pt>
                <c:pt idx="3">
                  <c:v>Tango</c:v>
                </c:pt>
                <c:pt idx="5">
                  <c:v>43Y92</c:v>
                </c:pt>
                <c:pt idx="6">
                  <c:v>44Y90</c:v>
                </c:pt>
                <c:pt idx="7">
                  <c:v>45Y91</c:v>
                </c:pt>
                <c:pt idx="8">
                  <c:v>45Y93</c:v>
                </c:pt>
                <c:pt idx="10">
                  <c:v>Alpha TT</c:v>
                </c:pt>
                <c:pt idx="11">
                  <c:v>Hyola 559 TT </c:v>
                </c:pt>
                <c:pt idx="12">
                  <c:v>Hyola 580CT</c:v>
                </c:pt>
                <c:pt idx="13">
                  <c:v>Hyola 350</c:v>
                </c:pt>
                <c:pt idx="14">
                  <c:v>Hyola 650</c:v>
                </c:pt>
                <c:pt idx="15">
                  <c:v>Hyola 555 TT</c:v>
                </c:pt>
              </c:strCache>
            </c:strRef>
          </c:cat>
          <c:val>
            <c:numRef>
              <c:f>Sheet1!$B$45:$B$60</c:f>
              <c:numCache>
                <c:formatCode>0</c:formatCode>
                <c:ptCount val="16"/>
                <c:pt idx="0">
                  <c:v>3367</c:v>
                </c:pt>
                <c:pt idx="1">
                  <c:v>3318.3333333333335</c:v>
                </c:pt>
                <c:pt idx="2">
                  <c:v>2866.3333333333335</c:v>
                </c:pt>
                <c:pt idx="3">
                  <c:v>2540.3333333333335</c:v>
                </c:pt>
                <c:pt idx="5">
                  <c:v>3384.6666666666665</c:v>
                </c:pt>
                <c:pt idx="6">
                  <c:v>3434.3333333333335</c:v>
                </c:pt>
                <c:pt idx="7">
                  <c:v>3295</c:v>
                </c:pt>
                <c:pt idx="8">
                  <c:v>3126.6666666666665</c:v>
                </c:pt>
                <c:pt idx="10">
                  <c:v>2863.3333333333335</c:v>
                </c:pt>
                <c:pt idx="11">
                  <c:v>2775.6666666666665</c:v>
                </c:pt>
                <c:pt idx="12">
                  <c:v>2607.6666666666665</c:v>
                </c:pt>
                <c:pt idx="13">
                  <c:v>2590</c:v>
                </c:pt>
                <c:pt idx="14">
                  <c:v>2563.3333333333335</c:v>
                </c:pt>
                <c:pt idx="15">
                  <c:v>247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96105616"/>
        <c:axId val="1496103440"/>
      </c:barChart>
      <c:catAx>
        <c:axId val="1496105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6103440"/>
        <c:crosses val="autoZero"/>
        <c:auto val="1"/>
        <c:lblAlgn val="ctr"/>
        <c:lblOffset val="100"/>
        <c:noMultiLvlLbl val="0"/>
      </c:catAx>
      <c:valAx>
        <c:axId val="1496103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kg/ha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6105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Sheet1!$O$5</c:f>
              <c:strCache>
                <c:ptCount val="1"/>
                <c:pt idx="0">
                  <c:v>Maks langtermyn</c:v>
                </c:pt>
              </c:strCache>
            </c:strRef>
          </c:tx>
          <c:spPr>
            <a:ln w="38100" cap="rnd">
              <a:solidFill>
                <a:srgbClr val="4188F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38100">
                <a:solidFill>
                  <a:srgbClr val="4188F1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-5.8972222222222273E-2"/>
                  <c:y val="3.23007976860359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074-4039-9AC2-A256BEBF62C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6.4527777777777726E-2"/>
                  <c:y val="2.99272419605977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074-4039-9AC2-A256BEBF62C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5.6194444444444547E-2"/>
                  <c:y val="2.763198986243743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074-4039-9AC2-A256BEBF62C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4.7861111111111111E-2"/>
                  <c:y val="-4.15204064583214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9074-4039-9AC2-A256BEBF62C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6.0361111111111108E-2"/>
                  <c:y val="-3.45171947229237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9074-4039-9AC2-A256BEBF62C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I$6:$I$13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Sheet1!$O$6:$O$13</c:f>
              <c:numCache>
                <c:formatCode>0.0</c:formatCode>
                <c:ptCount val="8"/>
                <c:pt idx="0">
                  <c:v>29.28</c:v>
                </c:pt>
                <c:pt idx="1">
                  <c:v>25.85</c:v>
                </c:pt>
                <c:pt idx="2">
                  <c:v>21.39</c:v>
                </c:pt>
                <c:pt idx="3">
                  <c:v>17.7</c:v>
                </c:pt>
                <c:pt idx="4">
                  <c:v>17.22</c:v>
                </c:pt>
                <c:pt idx="5">
                  <c:v>17.61</c:v>
                </c:pt>
                <c:pt idx="6">
                  <c:v>20.25</c:v>
                </c:pt>
                <c:pt idx="7">
                  <c:v>24.8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9074-4039-9AC2-A256BEBF62CC}"/>
            </c:ext>
          </c:extLst>
        </c:ser>
        <c:ser>
          <c:idx val="3"/>
          <c:order val="1"/>
          <c:tx>
            <c:strRef>
              <c:f>Sheet1!$Q$5</c:f>
              <c:strCache>
                <c:ptCount val="1"/>
                <c:pt idx="0">
                  <c:v>Min langtermyn</c:v>
                </c:pt>
              </c:strCache>
            </c:strRef>
          </c:tx>
          <c:spPr>
            <a:ln w="38100" cap="rnd">
              <a:solidFill>
                <a:srgbClr val="FFC6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38100">
                <a:solidFill>
                  <a:srgbClr val="FFC600"/>
                </a:solidFill>
              </a:ln>
              <a:effectLst/>
            </c:spPr>
          </c:marker>
          <c:dLbls>
            <c:dLbl>
              <c:idx val="5"/>
              <c:layout>
                <c:manualLayout>
                  <c:x val="-3.1208442694663167E-2"/>
                  <c:y val="-4.16380457105694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9074-4039-9AC2-A256BEBF62C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4.6486220472440942E-2"/>
                  <c:y val="-3.21436389974857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9074-4039-9AC2-A256BEBF62C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5.2827209098862744E-2"/>
                  <c:y val="-2.75924704261353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9074-4039-9AC2-A256BEBF62C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I$6:$I$13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Sheet1!$Q$6:$Q$13</c:f>
              <c:numCache>
                <c:formatCode>0.0</c:formatCode>
                <c:ptCount val="8"/>
                <c:pt idx="0">
                  <c:v>15.67</c:v>
                </c:pt>
                <c:pt idx="1">
                  <c:v>13.54</c:v>
                </c:pt>
                <c:pt idx="2">
                  <c:v>11.33</c:v>
                </c:pt>
                <c:pt idx="3">
                  <c:v>9.08</c:v>
                </c:pt>
                <c:pt idx="4">
                  <c:v>7.92</c:v>
                </c:pt>
                <c:pt idx="5">
                  <c:v>7.75</c:v>
                </c:pt>
                <c:pt idx="6">
                  <c:v>8.4600000000000009</c:v>
                </c:pt>
                <c:pt idx="7">
                  <c:v>11.0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9074-4039-9AC2-A256BEBF62CC}"/>
            </c:ext>
          </c:extLst>
        </c:ser>
        <c:ser>
          <c:idx val="0"/>
          <c:order val="2"/>
          <c:tx>
            <c:strRef>
              <c:f>Sheet1!$N$5</c:f>
              <c:strCache>
                <c:ptCount val="1"/>
                <c:pt idx="0">
                  <c:v>2020 Maks temp.</c:v>
                </c:pt>
              </c:strCache>
            </c:strRef>
          </c:tx>
          <c:spPr>
            <a:ln w="38100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B050"/>
              </a:solidFill>
              <a:ln w="38100">
                <a:solidFill>
                  <a:srgbClr val="FF0000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1840551181102871E-3"/>
                  <c:y val="-9.33761564719698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831747594050754E-2"/>
                  <c:y val="-3.46635085429073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5.5817475940507434E-2"/>
                  <c:y val="-3.23291046311081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5.5681485126859144E-2"/>
                  <c:y val="1.83225892546468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5139430403183364E-2"/>
                      <c:h val="0.10497703412073491"/>
                    </c:manualLayout>
                  </c15:layout>
                </c:ext>
              </c:extLst>
            </c:dLbl>
            <c:dLbl>
              <c:idx val="6"/>
              <c:layout>
                <c:manualLayout>
                  <c:x val="-5.5681537132266846E-2"/>
                  <c:y val="4.62962962962963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1.8072944006998923E-2"/>
                  <c:y val="5.13568860595831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I$6:$I$13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Sheet1!$N$6:$N$13</c:f>
              <c:numCache>
                <c:formatCode>0.0</c:formatCode>
                <c:ptCount val="8"/>
                <c:pt idx="0">
                  <c:v>29.69</c:v>
                </c:pt>
                <c:pt idx="1">
                  <c:v>25.76</c:v>
                </c:pt>
                <c:pt idx="2">
                  <c:v>23.79</c:v>
                </c:pt>
                <c:pt idx="3">
                  <c:v>18.989999999999998</c:v>
                </c:pt>
                <c:pt idx="4">
                  <c:v>19.100000000000001</c:v>
                </c:pt>
                <c:pt idx="5">
                  <c:v>16.489999999999998</c:v>
                </c:pt>
                <c:pt idx="6">
                  <c:v>19.649999999999999</c:v>
                </c:pt>
                <c:pt idx="7">
                  <c:v>24.8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9074-4039-9AC2-A256BEBF62CC}"/>
            </c:ext>
          </c:extLst>
        </c:ser>
        <c:ser>
          <c:idx val="2"/>
          <c:order val="3"/>
          <c:tx>
            <c:strRef>
              <c:f>Sheet1!$P$5</c:f>
              <c:strCache>
                <c:ptCount val="1"/>
                <c:pt idx="0">
                  <c:v>2020 Min temp.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38100">
                <a:solidFill>
                  <a:srgbClr val="00B050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5.4756452318460193E-2"/>
                  <c:y val="9.220160206280428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2.142311898512686E-2"/>
                  <c:y val="2.29523371702723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1.4750437445319538E-2"/>
                  <c:y val="3.45067174770202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I$6:$I$13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Sheet1!$P$6:$P$13</c:f>
              <c:numCache>
                <c:formatCode>0.0</c:formatCode>
                <c:ptCount val="8"/>
                <c:pt idx="0">
                  <c:v>15.32</c:v>
                </c:pt>
                <c:pt idx="1">
                  <c:v>13.56</c:v>
                </c:pt>
                <c:pt idx="2">
                  <c:v>11.81</c:v>
                </c:pt>
                <c:pt idx="3">
                  <c:v>9.76</c:v>
                </c:pt>
                <c:pt idx="4">
                  <c:v>8.44</c:v>
                </c:pt>
                <c:pt idx="5">
                  <c:v>6.4</c:v>
                </c:pt>
                <c:pt idx="6">
                  <c:v>7.73</c:v>
                </c:pt>
                <c:pt idx="7">
                  <c:v>10.0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B-9074-4039-9AC2-A256BEBF62C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496112144"/>
        <c:axId val="1496112688"/>
      </c:lineChart>
      <c:catAx>
        <c:axId val="1496112144"/>
        <c:scaling>
          <c:orientation val="minMax"/>
        </c:scaling>
        <c:delete val="0"/>
        <c:axPos val="b"/>
        <c:numFmt formatCode="General" sourceLinked="1"/>
        <c:majorTickMark val="in"/>
        <c:minorTickMark val="in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496112688"/>
        <c:crosses val="autoZero"/>
        <c:auto val="1"/>
        <c:lblAlgn val="ctr"/>
        <c:lblOffset val="100"/>
        <c:noMultiLvlLbl val="0"/>
      </c:catAx>
      <c:valAx>
        <c:axId val="1496112688"/>
        <c:scaling>
          <c:orientation val="minMax"/>
          <c:max val="30"/>
          <c:min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/>
                  <a:t>Temperatuu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496112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Grafiek!$F$4</c:f>
              <c:strCache>
                <c:ptCount val="1"/>
                <c:pt idx="0">
                  <c:v>2019 Maks temp.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2.0837145875289471E-2"/>
                  <c:y val="4.49413108907091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fiek!$A$5:$A$12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Grafiek!$F$5:$F$12</c:f>
              <c:numCache>
                <c:formatCode>0.0</c:formatCode>
                <c:ptCount val="8"/>
                <c:pt idx="0">
                  <c:v>27.35</c:v>
                </c:pt>
                <c:pt idx="1">
                  <c:v>24.94</c:v>
                </c:pt>
                <c:pt idx="2">
                  <c:v>22.56</c:v>
                </c:pt>
                <c:pt idx="3" formatCode="General">
                  <c:v>19.11</c:v>
                </c:pt>
                <c:pt idx="4">
                  <c:v>16.399999999999999</c:v>
                </c:pt>
                <c:pt idx="5">
                  <c:v>18.37</c:v>
                </c:pt>
                <c:pt idx="6">
                  <c:v>24.53</c:v>
                </c:pt>
                <c:pt idx="7">
                  <c:v>25.3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Grafiek!$G$4</c:f>
              <c:strCache>
                <c:ptCount val="1"/>
                <c:pt idx="0">
                  <c:v>Maks langtermy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-4.7222222222222276E-2"/>
                  <c:y val="4.16666666666666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fiek!$A$5:$A$12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Grafiek!$G$5:$G$12</c:f>
              <c:numCache>
                <c:formatCode>0.0</c:formatCode>
                <c:ptCount val="8"/>
                <c:pt idx="0">
                  <c:v>29.28</c:v>
                </c:pt>
                <c:pt idx="1">
                  <c:v>25.85</c:v>
                </c:pt>
                <c:pt idx="2">
                  <c:v>21.39</c:v>
                </c:pt>
                <c:pt idx="3">
                  <c:v>17.7</c:v>
                </c:pt>
                <c:pt idx="4">
                  <c:v>17.22</c:v>
                </c:pt>
                <c:pt idx="5">
                  <c:v>17.61</c:v>
                </c:pt>
                <c:pt idx="6">
                  <c:v>20.25</c:v>
                </c:pt>
                <c:pt idx="7">
                  <c:v>24.8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Grafiek!$H$4</c:f>
              <c:strCache>
                <c:ptCount val="1"/>
                <c:pt idx="0">
                  <c:v>2019 Min temp.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fiek!$A$5:$A$12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Grafiek!$H$5:$H$12</c:f>
              <c:numCache>
                <c:formatCode>0.0</c:formatCode>
                <c:ptCount val="8"/>
                <c:pt idx="0">
                  <c:v>15.14</c:v>
                </c:pt>
                <c:pt idx="1">
                  <c:v>12.93</c:v>
                </c:pt>
                <c:pt idx="2">
                  <c:v>11.68</c:v>
                </c:pt>
                <c:pt idx="3">
                  <c:v>9.2799999999999994</c:v>
                </c:pt>
                <c:pt idx="4">
                  <c:v>8.43</c:v>
                </c:pt>
                <c:pt idx="5">
                  <c:v>7.5</c:v>
                </c:pt>
                <c:pt idx="6">
                  <c:v>10.98</c:v>
                </c:pt>
                <c:pt idx="7">
                  <c:v>10.57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Grafiek!$I$4</c:f>
              <c:strCache>
                <c:ptCount val="1"/>
                <c:pt idx="0">
                  <c:v>Min langtermyn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Grafiek!$A$5:$A$12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Grafiek!$I$5:$I$12</c:f>
              <c:numCache>
                <c:formatCode>0.0</c:formatCode>
                <c:ptCount val="8"/>
                <c:pt idx="0">
                  <c:v>15.67</c:v>
                </c:pt>
                <c:pt idx="1">
                  <c:v>13.54</c:v>
                </c:pt>
                <c:pt idx="2">
                  <c:v>11.33</c:v>
                </c:pt>
                <c:pt idx="3">
                  <c:v>9.08</c:v>
                </c:pt>
                <c:pt idx="4">
                  <c:v>7.92</c:v>
                </c:pt>
                <c:pt idx="5">
                  <c:v>7.75</c:v>
                </c:pt>
                <c:pt idx="6">
                  <c:v>8.4600000000000009</c:v>
                </c:pt>
                <c:pt idx="7">
                  <c:v>11.0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6113776"/>
        <c:axId val="1496115408"/>
      </c:lineChart>
      <c:catAx>
        <c:axId val="1496113776"/>
        <c:scaling>
          <c:orientation val="minMax"/>
        </c:scaling>
        <c:delete val="0"/>
        <c:axPos val="b"/>
        <c:numFmt formatCode="General" sourceLinked="1"/>
        <c:majorTickMark val="in"/>
        <c:minorTickMark val="in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496115408"/>
        <c:crosses val="autoZero"/>
        <c:auto val="1"/>
        <c:lblAlgn val="ctr"/>
        <c:lblOffset val="100"/>
        <c:noMultiLvlLbl val="0"/>
      </c:catAx>
      <c:valAx>
        <c:axId val="1496115408"/>
        <c:scaling>
          <c:orientation val="minMax"/>
          <c:max val="30"/>
          <c:min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/>
                  <a:t>°C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496113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anggewens!$F$2</c:f>
              <c:strCache>
                <c:ptCount val="1"/>
                <c:pt idx="0">
                  <c:v>2018 Maks temp.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3.1944444444444442E-2"/>
                  <c:y val="4.43536661714790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0"/>
                  <c:y val="4.66880696541884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anggewens!$A$5:$A$12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Langgewens!$F$5:$F$12</c:f>
              <c:numCache>
                <c:formatCode>General</c:formatCode>
                <c:ptCount val="8"/>
                <c:pt idx="0">
                  <c:v>27.45</c:v>
                </c:pt>
                <c:pt idx="1">
                  <c:v>24.98</c:v>
                </c:pt>
                <c:pt idx="2">
                  <c:v>21.52</c:v>
                </c:pt>
                <c:pt idx="3">
                  <c:v>17.5</c:v>
                </c:pt>
                <c:pt idx="4">
                  <c:v>19.14</c:v>
                </c:pt>
                <c:pt idx="5">
                  <c:v>16.36</c:v>
                </c:pt>
                <c:pt idx="6">
                  <c:v>18.53</c:v>
                </c:pt>
                <c:pt idx="7">
                  <c:v>28.0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Langgewens!$G$2</c:f>
              <c:strCache>
                <c:ptCount val="1"/>
                <c:pt idx="0">
                  <c:v>Maks langtermy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Langgewens!$A$5:$A$12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Langgewens!$G$5:$G$12</c:f>
              <c:numCache>
                <c:formatCode>General</c:formatCode>
                <c:ptCount val="8"/>
                <c:pt idx="0">
                  <c:v>29.5</c:v>
                </c:pt>
                <c:pt idx="1">
                  <c:v>25.9</c:v>
                </c:pt>
                <c:pt idx="2">
                  <c:v>21</c:v>
                </c:pt>
                <c:pt idx="3">
                  <c:v>17.600000000000001</c:v>
                </c:pt>
                <c:pt idx="4">
                  <c:v>17.100000000000001</c:v>
                </c:pt>
                <c:pt idx="5">
                  <c:v>17.7</c:v>
                </c:pt>
                <c:pt idx="6" formatCode="0.0">
                  <c:v>19.8</c:v>
                </c:pt>
                <c:pt idx="7">
                  <c:v>24.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Langgewens!$H$2</c:f>
              <c:strCache>
                <c:ptCount val="1"/>
                <c:pt idx="0">
                  <c:v>2018 Min temp.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1666666666666666E-3"/>
                  <c:y val="3.50160522406413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5.5555555555555558E-3"/>
                  <c:y val="7.003210448128182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anggewens!$A$5:$A$12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Langgewens!$H$5:$H$12</c:f>
              <c:numCache>
                <c:formatCode>General</c:formatCode>
                <c:ptCount val="8"/>
                <c:pt idx="0">
                  <c:v>15.04</c:v>
                </c:pt>
                <c:pt idx="1">
                  <c:v>12.99</c:v>
                </c:pt>
                <c:pt idx="2">
                  <c:v>12.15</c:v>
                </c:pt>
                <c:pt idx="3">
                  <c:v>9.51</c:v>
                </c:pt>
                <c:pt idx="4">
                  <c:v>9.31</c:v>
                </c:pt>
                <c:pt idx="5">
                  <c:v>6.37</c:v>
                </c:pt>
                <c:pt idx="6">
                  <c:v>7.43</c:v>
                </c:pt>
                <c:pt idx="7">
                  <c:v>13.5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Langgewens!$I$2</c:f>
              <c:strCache>
                <c:ptCount val="1"/>
                <c:pt idx="0">
                  <c:v>Min langtermyn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Langgewens!$A$5:$A$12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Langgewens!$I$5:$I$12</c:f>
              <c:numCache>
                <c:formatCode>General</c:formatCode>
                <c:ptCount val="8"/>
                <c:pt idx="0">
                  <c:v>15.8</c:v>
                </c:pt>
                <c:pt idx="1">
                  <c:v>13.5</c:v>
                </c:pt>
                <c:pt idx="2">
                  <c:v>11.2</c:v>
                </c:pt>
                <c:pt idx="3">
                  <c:v>9.1</c:v>
                </c:pt>
                <c:pt idx="4">
                  <c:v>7.8</c:v>
                </c:pt>
                <c:pt idx="5">
                  <c:v>7.9</c:v>
                </c:pt>
                <c:pt idx="6" formatCode="0.0">
                  <c:v>8.3000000000000007</c:v>
                </c:pt>
                <c:pt idx="7" formatCode="0.0">
                  <c:v>1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6111056"/>
        <c:axId val="1496114864"/>
      </c:lineChart>
      <c:catAx>
        <c:axId val="1496111056"/>
        <c:scaling>
          <c:orientation val="minMax"/>
        </c:scaling>
        <c:delete val="0"/>
        <c:axPos val="b"/>
        <c:numFmt formatCode="General" sourceLinked="1"/>
        <c:majorTickMark val="in"/>
        <c:minorTickMark val="in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496114864"/>
        <c:crosses val="autoZero"/>
        <c:auto val="1"/>
        <c:lblAlgn val="ctr"/>
        <c:lblOffset val="100"/>
        <c:noMultiLvlLbl val="0"/>
      </c:catAx>
      <c:valAx>
        <c:axId val="1496114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/>
                  <a:t>Temperatuur °C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496111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2!$B$2</c:f>
              <c:strCache>
                <c:ptCount val="1"/>
                <c:pt idx="0">
                  <c:v>2020 Maks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2!$A$3:$A$10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Sheet2!$B$3:$B$10</c:f>
              <c:numCache>
                <c:formatCode>0.0</c:formatCode>
                <c:ptCount val="8"/>
                <c:pt idx="0">
                  <c:v>29.69</c:v>
                </c:pt>
                <c:pt idx="1">
                  <c:v>25.76</c:v>
                </c:pt>
                <c:pt idx="2">
                  <c:v>23.79</c:v>
                </c:pt>
                <c:pt idx="3">
                  <c:v>18.989999999999998</c:v>
                </c:pt>
                <c:pt idx="4">
                  <c:v>19.100000000000001</c:v>
                </c:pt>
                <c:pt idx="5">
                  <c:v>16.489999999999998</c:v>
                </c:pt>
                <c:pt idx="6">
                  <c:v>19.649999999999999</c:v>
                </c:pt>
                <c:pt idx="7">
                  <c:v>24.8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2!$C$2</c:f>
              <c:strCache>
                <c:ptCount val="1"/>
                <c:pt idx="0">
                  <c:v>2020 Min 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2!$A$3:$A$10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Sheet2!$C$3:$C$10</c:f>
              <c:numCache>
                <c:formatCode>0.0</c:formatCode>
                <c:ptCount val="8"/>
                <c:pt idx="0">
                  <c:v>15.32</c:v>
                </c:pt>
                <c:pt idx="1">
                  <c:v>13.56</c:v>
                </c:pt>
                <c:pt idx="2">
                  <c:v>11.81</c:v>
                </c:pt>
                <c:pt idx="3">
                  <c:v>9.76</c:v>
                </c:pt>
                <c:pt idx="4">
                  <c:v>8.44</c:v>
                </c:pt>
                <c:pt idx="5">
                  <c:v>6.4</c:v>
                </c:pt>
                <c:pt idx="6">
                  <c:v>7.73</c:v>
                </c:pt>
                <c:pt idx="7">
                  <c:v>10.0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2!$D$2</c:f>
              <c:strCache>
                <c:ptCount val="1"/>
                <c:pt idx="0">
                  <c:v>2019 Maks 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2!$A$3:$A$10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Sheet2!$D$3:$D$10</c:f>
              <c:numCache>
                <c:formatCode>0.0</c:formatCode>
                <c:ptCount val="8"/>
                <c:pt idx="0">
                  <c:v>27.35</c:v>
                </c:pt>
                <c:pt idx="1">
                  <c:v>24.94</c:v>
                </c:pt>
                <c:pt idx="2">
                  <c:v>22.56</c:v>
                </c:pt>
                <c:pt idx="3">
                  <c:v>19.11</c:v>
                </c:pt>
                <c:pt idx="4">
                  <c:v>16.399999999999999</c:v>
                </c:pt>
                <c:pt idx="5">
                  <c:v>18.37</c:v>
                </c:pt>
                <c:pt idx="6">
                  <c:v>24.53</c:v>
                </c:pt>
                <c:pt idx="7">
                  <c:v>25.3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2!$E$2</c:f>
              <c:strCache>
                <c:ptCount val="1"/>
                <c:pt idx="0">
                  <c:v>2019 Min 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2!$A$3:$A$10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Sheet2!$E$3:$E$10</c:f>
              <c:numCache>
                <c:formatCode>0.0</c:formatCode>
                <c:ptCount val="8"/>
                <c:pt idx="0">
                  <c:v>15.14</c:v>
                </c:pt>
                <c:pt idx="1">
                  <c:v>12.93</c:v>
                </c:pt>
                <c:pt idx="2">
                  <c:v>11.68</c:v>
                </c:pt>
                <c:pt idx="3">
                  <c:v>9.2799999999999994</c:v>
                </c:pt>
                <c:pt idx="4">
                  <c:v>8.43</c:v>
                </c:pt>
                <c:pt idx="5">
                  <c:v>7.5</c:v>
                </c:pt>
                <c:pt idx="6">
                  <c:v>10.98</c:v>
                </c:pt>
                <c:pt idx="7">
                  <c:v>10.57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2!$F$2</c:f>
              <c:strCache>
                <c:ptCount val="1"/>
                <c:pt idx="0">
                  <c:v>2018 Maks </c:v>
                </c:pt>
              </c:strCache>
            </c:strRef>
          </c:tx>
          <c:spPr>
            <a:ln w="34925" cap="rnd">
              <a:solidFill>
                <a:schemeClr val="accent5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2!$A$3:$A$10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Sheet2!$F$3:$F$10</c:f>
              <c:numCache>
                <c:formatCode>0.0</c:formatCode>
                <c:ptCount val="8"/>
                <c:pt idx="0">
                  <c:v>27.45</c:v>
                </c:pt>
                <c:pt idx="1">
                  <c:v>24.98</c:v>
                </c:pt>
                <c:pt idx="2">
                  <c:v>21.52</c:v>
                </c:pt>
                <c:pt idx="3">
                  <c:v>17.5</c:v>
                </c:pt>
                <c:pt idx="4">
                  <c:v>19.14</c:v>
                </c:pt>
                <c:pt idx="5">
                  <c:v>16.36</c:v>
                </c:pt>
                <c:pt idx="6">
                  <c:v>18.53</c:v>
                </c:pt>
                <c:pt idx="7">
                  <c:v>28.04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Sheet2!$G$2</c:f>
              <c:strCache>
                <c:ptCount val="1"/>
                <c:pt idx="0">
                  <c:v>2018 Min </c:v>
                </c:pt>
              </c:strCache>
            </c:strRef>
          </c:tx>
          <c:spPr>
            <a:ln w="34925" cap="rnd">
              <a:solidFill>
                <a:schemeClr val="accent6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2!$A$3:$A$10</c:f>
              <c:strCache>
                <c:ptCount val="8"/>
                <c:pt idx="0">
                  <c:v>Mar</c:v>
                </c:pt>
                <c:pt idx="1">
                  <c:v>Apr</c:v>
                </c:pt>
                <c:pt idx="2">
                  <c:v>Mei</c:v>
                </c:pt>
                <c:pt idx="3">
                  <c:v>Jun</c:v>
                </c:pt>
                <c:pt idx="4">
                  <c:v>Jul</c:v>
                </c:pt>
                <c:pt idx="5">
                  <c:v>Aug</c:v>
                </c:pt>
                <c:pt idx="6">
                  <c:v>Sep</c:v>
                </c:pt>
                <c:pt idx="7">
                  <c:v>Okt</c:v>
                </c:pt>
              </c:strCache>
            </c:strRef>
          </c:cat>
          <c:val>
            <c:numRef>
              <c:f>Sheet2!$G$3:$G$10</c:f>
              <c:numCache>
                <c:formatCode>0.0</c:formatCode>
                <c:ptCount val="8"/>
                <c:pt idx="0">
                  <c:v>15.04</c:v>
                </c:pt>
                <c:pt idx="1">
                  <c:v>12.99</c:v>
                </c:pt>
                <c:pt idx="2">
                  <c:v>12.15</c:v>
                </c:pt>
                <c:pt idx="3">
                  <c:v>9.51</c:v>
                </c:pt>
                <c:pt idx="4">
                  <c:v>9.31</c:v>
                </c:pt>
                <c:pt idx="5">
                  <c:v>6.37</c:v>
                </c:pt>
                <c:pt idx="6">
                  <c:v>7.43</c:v>
                </c:pt>
                <c:pt idx="7">
                  <c:v>13.5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98183984"/>
        <c:axId val="1498184528"/>
      </c:lineChart>
      <c:catAx>
        <c:axId val="1498183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498184528"/>
        <c:crosses val="autoZero"/>
        <c:auto val="1"/>
        <c:lblAlgn val="ctr"/>
        <c:lblOffset val="100"/>
        <c:noMultiLvlLbl val="0"/>
      </c:catAx>
      <c:valAx>
        <c:axId val="1498184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/>
                  <a:t>Temperatuu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498183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'Yield  x reenv'!$R$188</c:f>
              <c:strCache>
                <c:ptCount val="1"/>
                <c:pt idx="0">
                  <c:v>Reën blom tot 60 dae na  blom</c:v>
                </c:pt>
              </c:strCache>
            </c:strRef>
          </c:tx>
          <c:spPr>
            <a:ln w="28575" cap="rnd">
              <a:noFill/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22225">
                <a:noFill/>
                <a:round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marker>
          <c:trendline>
            <c:spPr>
              <a:ln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round/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-0.19452972538022634"/>
                  <c:y val="-4.1436230161418465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600" b="0" i="0" u="none" strike="noStrike" kern="1200" baseline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defRPr>
                    </a:pPr>
                    <a:r>
                      <a:rPr lang="en-US"/>
                      <a:t>y = -16.859x + 297.64</a:t>
                    </a:r>
                    <a:br>
                      <a:rPr lang="en-US"/>
                    </a:br>
                    <a:r>
                      <a:rPr lang="en-US"/>
                      <a:t>R² = 0.8458</a:t>
                    </a:r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0" i="0" u="none" strike="noStrike" kern="1200" baseline="0">
                      <a:solidFill>
                        <a:schemeClr val="tx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Yield  x reenv'!$V$189:$V$202</c:f>
              <c:numCache>
                <c:formatCode>0.0</c:formatCode>
                <c:ptCount val="14"/>
                <c:pt idx="0">
                  <c:v>12.926100000000002</c:v>
                </c:pt>
                <c:pt idx="1">
                  <c:v>12.879699999999998</c:v>
                </c:pt>
                <c:pt idx="2">
                  <c:v>11.5747</c:v>
                </c:pt>
                <c:pt idx="3">
                  <c:v>12.821900000000001</c:v>
                </c:pt>
                <c:pt idx="4">
                  <c:v>14.202199999999989</c:v>
                </c:pt>
                <c:pt idx="5">
                  <c:v>15.145500000000002</c:v>
                </c:pt>
                <c:pt idx="6">
                  <c:v>16.017199999999995</c:v>
                </c:pt>
                <c:pt idx="7">
                  <c:v>14.337699999999993</c:v>
                </c:pt>
                <c:pt idx="8">
                  <c:v>15.629399999999997</c:v>
                </c:pt>
                <c:pt idx="9">
                  <c:v>15.642899999999996</c:v>
                </c:pt>
                <c:pt idx="10">
                  <c:v>12.042800000000002</c:v>
                </c:pt>
                <c:pt idx="11">
                  <c:v>11.6144</c:v>
                </c:pt>
                <c:pt idx="12">
                  <c:v>16.063199999999998</c:v>
                </c:pt>
                <c:pt idx="13">
                  <c:v>16.540299999999995</c:v>
                </c:pt>
              </c:numCache>
            </c:numRef>
          </c:xVal>
          <c:yVal>
            <c:numRef>
              <c:f>'Yield  x reenv'!$R$246:$R$259</c:f>
              <c:numCache>
                <c:formatCode>0.0</c:formatCode>
                <c:ptCount val="14"/>
                <c:pt idx="0">
                  <c:v>75.80000000000004</c:v>
                </c:pt>
                <c:pt idx="1">
                  <c:v>67.200000000000017</c:v>
                </c:pt>
                <c:pt idx="2">
                  <c:v>118.20000000000006</c:v>
                </c:pt>
                <c:pt idx="3">
                  <c:v>78.800000000000026</c:v>
                </c:pt>
                <c:pt idx="4">
                  <c:v>79.400000000000034</c:v>
                </c:pt>
                <c:pt idx="5">
                  <c:v>25.399999999999991</c:v>
                </c:pt>
                <c:pt idx="6">
                  <c:v>14.399999999999995</c:v>
                </c:pt>
                <c:pt idx="7">
                  <c:v>76.400000000000006</c:v>
                </c:pt>
                <c:pt idx="8">
                  <c:v>42.000000000000007</c:v>
                </c:pt>
                <c:pt idx="9">
                  <c:v>42.800000000000004</c:v>
                </c:pt>
                <c:pt idx="10">
                  <c:v>83.200000000000031</c:v>
                </c:pt>
                <c:pt idx="11">
                  <c:v>95.400000000000034</c:v>
                </c:pt>
                <c:pt idx="12">
                  <c:v>23.999999999999986</c:v>
                </c:pt>
                <c:pt idx="13">
                  <c:v>15.399999999999995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97053712"/>
        <c:axId val="1497056976"/>
      </c:scatterChart>
      <c:valAx>
        <c:axId val="1497053712"/>
        <c:scaling>
          <c:orientation val="minMax"/>
          <c:min val="10"/>
        </c:scaling>
        <c:delete val="0"/>
        <c:axPos val="b"/>
        <c:majorGridlines>
          <c:spPr>
            <a:ln w="9525" cap="flat" cmpd="sng" algn="ctr">
              <a:solidFill>
                <a:schemeClr val="lt1">
                  <a:alpha val="2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 b="0"/>
                  <a:t>Gem. temp na blom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497056976"/>
        <c:crosses val="autoZero"/>
        <c:crossBetween val="midCat"/>
      </c:valAx>
      <c:valAx>
        <c:axId val="1497056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alpha val="2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 b="0"/>
                  <a:t>Reënval (mm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497053712"/>
        <c:crosses val="autoZero"/>
        <c:crossBetween val="midCat"/>
      </c:valAx>
      <c:spPr>
        <a:solidFill>
          <a:schemeClr val="tx2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accent1"/>
      </a:solidFill>
      <a:round/>
    </a:ln>
    <a:effectLst/>
  </c:spPr>
  <c:txPr>
    <a:bodyPr/>
    <a:lstStyle/>
    <a:p>
      <a:pPr>
        <a:defRPr sz="1600">
          <a:solidFill>
            <a:schemeClr val="tx1"/>
          </a:solidFill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'Yield  x reenv'!$Q$188</c:f>
              <c:strCache>
                <c:ptCount val="1"/>
                <c:pt idx="0">
                  <c:v>Reën plant tot blom</c:v>
                </c:pt>
              </c:strCache>
            </c:strRef>
          </c:tx>
          <c:spPr>
            <a:ln w="25400" cap="rnd">
              <a:noFill/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rnd">
                <a:solidFill>
                  <a:schemeClr val="accent1"/>
                </a:solidFill>
                <a:round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marker>
          <c:trendline>
            <c:spPr>
              <a:ln w="19050" cap="rnd">
                <a:solidFill>
                  <a:schemeClr val="accent1"/>
                </a:solidFill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0.10172561242344708"/>
                  <c:y val="0.27382736663479379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Yield  x reenv'!$Q$189:$Q$244</c:f>
              <c:numCache>
                <c:formatCode>0.0</c:formatCode>
                <c:ptCount val="56"/>
                <c:pt idx="0">
                  <c:v>195.79999999999995</c:v>
                </c:pt>
                <c:pt idx="1">
                  <c:v>161.79999999999998</c:v>
                </c:pt>
                <c:pt idx="2">
                  <c:v>119.60000000000007</c:v>
                </c:pt>
                <c:pt idx="3">
                  <c:v>188.20000000000005</c:v>
                </c:pt>
                <c:pt idx="4">
                  <c:v>178.99999999999991</c:v>
                </c:pt>
                <c:pt idx="5">
                  <c:v>125.20000000000006</c:v>
                </c:pt>
                <c:pt idx="6">
                  <c:v>109.40000000000009</c:v>
                </c:pt>
                <c:pt idx="7">
                  <c:v>185.19999999999993</c:v>
                </c:pt>
                <c:pt idx="8">
                  <c:v>113.20000000000007</c:v>
                </c:pt>
                <c:pt idx="9">
                  <c:v>84.000000000000028</c:v>
                </c:pt>
                <c:pt idx="10">
                  <c:v>159.79999999999998</c:v>
                </c:pt>
                <c:pt idx="11">
                  <c:v>150.99999999999994</c:v>
                </c:pt>
                <c:pt idx="12">
                  <c:v>143.59999999999997</c:v>
                </c:pt>
                <c:pt idx="13">
                  <c:v>134.60000000000005</c:v>
                </c:pt>
                <c:pt idx="14">
                  <c:v>186.99999999999994</c:v>
                </c:pt>
                <c:pt idx="15">
                  <c:v>161.79999999999998</c:v>
                </c:pt>
                <c:pt idx="16">
                  <c:v>118.00000000000006</c:v>
                </c:pt>
                <c:pt idx="17">
                  <c:v>179.40000000000006</c:v>
                </c:pt>
                <c:pt idx="18">
                  <c:v>178.59999999999991</c:v>
                </c:pt>
                <c:pt idx="19">
                  <c:v>125.20000000000006</c:v>
                </c:pt>
                <c:pt idx="20">
                  <c:v>103.40000000000009</c:v>
                </c:pt>
                <c:pt idx="21">
                  <c:v>184.59999999999997</c:v>
                </c:pt>
                <c:pt idx="22">
                  <c:v>113.20000000000007</c:v>
                </c:pt>
                <c:pt idx="23">
                  <c:v>84.000000000000028</c:v>
                </c:pt>
                <c:pt idx="24">
                  <c:v>159.99999999999997</c:v>
                </c:pt>
                <c:pt idx="25">
                  <c:v>149.99999999999994</c:v>
                </c:pt>
                <c:pt idx="26">
                  <c:v>133.6</c:v>
                </c:pt>
                <c:pt idx="27">
                  <c:v>134.00000000000009</c:v>
                </c:pt>
                <c:pt idx="28">
                  <c:v>204.59999999999994</c:v>
                </c:pt>
                <c:pt idx="29">
                  <c:v>177.99999999999997</c:v>
                </c:pt>
                <c:pt idx="30">
                  <c:v>122.60000000000007</c:v>
                </c:pt>
                <c:pt idx="31">
                  <c:v>193.60000000000002</c:v>
                </c:pt>
                <c:pt idx="32">
                  <c:v>188.59999999999991</c:v>
                </c:pt>
                <c:pt idx="33">
                  <c:v>125.40000000000006</c:v>
                </c:pt>
                <c:pt idx="34">
                  <c:v>103.40000000000009</c:v>
                </c:pt>
                <c:pt idx="35">
                  <c:v>185.59999999999991</c:v>
                </c:pt>
                <c:pt idx="36">
                  <c:v>113.40000000000008</c:v>
                </c:pt>
                <c:pt idx="37">
                  <c:v>88.80000000000004</c:v>
                </c:pt>
                <c:pt idx="38">
                  <c:v>160.39999999999998</c:v>
                </c:pt>
                <c:pt idx="39">
                  <c:v>167.79999999999993</c:v>
                </c:pt>
                <c:pt idx="40">
                  <c:v>151.79999999999995</c:v>
                </c:pt>
                <c:pt idx="41">
                  <c:v>135.00000000000003</c:v>
                </c:pt>
                <c:pt idx="42">
                  <c:v>219.59999999999994</c:v>
                </c:pt>
                <c:pt idx="43">
                  <c:v>178.19999999999996</c:v>
                </c:pt>
                <c:pt idx="44">
                  <c:v>122.80000000000007</c:v>
                </c:pt>
                <c:pt idx="45">
                  <c:v>188.60000000000005</c:v>
                </c:pt>
                <c:pt idx="46">
                  <c:v>188.59999999999991</c:v>
                </c:pt>
                <c:pt idx="47">
                  <c:v>125.40000000000006</c:v>
                </c:pt>
                <c:pt idx="48">
                  <c:v>109.8000000000001</c:v>
                </c:pt>
                <c:pt idx="49">
                  <c:v>196.99999999999991</c:v>
                </c:pt>
                <c:pt idx="50">
                  <c:v>118.20000000000009</c:v>
                </c:pt>
                <c:pt idx="51">
                  <c:v>88.400000000000034</c:v>
                </c:pt>
                <c:pt idx="52">
                  <c:v>164.79999999999995</c:v>
                </c:pt>
                <c:pt idx="53">
                  <c:v>167.79999999999993</c:v>
                </c:pt>
                <c:pt idx="54">
                  <c:v>151.79999999999995</c:v>
                </c:pt>
                <c:pt idx="55">
                  <c:v>135.00000000000003</c:v>
                </c:pt>
              </c:numCache>
            </c:numRef>
          </c:xVal>
          <c:yVal>
            <c:numRef>
              <c:f>'Yield  x reenv'!$G$189:$G$244</c:f>
              <c:numCache>
                <c:formatCode>General</c:formatCode>
                <c:ptCount val="56"/>
                <c:pt idx="0">
                  <c:v>2632.7</c:v>
                </c:pt>
                <c:pt idx="1">
                  <c:v>2283</c:v>
                </c:pt>
                <c:pt idx="2">
                  <c:v>3358.5344356666669</c:v>
                </c:pt>
                <c:pt idx="3">
                  <c:v>3188.3075180000001</c:v>
                </c:pt>
                <c:pt idx="4">
                  <c:v>2739.6968573333338</c:v>
                </c:pt>
                <c:pt idx="5" formatCode="0">
                  <c:v>2098.9960310000001</c:v>
                </c:pt>
                <c:pt idx="6" formatCode="0">
                  <c:v>2031.1288653333334</c:v>
                </c:pt>
                <c:pt idx="7">
                  <c:v>3796.3</c:v>
                </c:pt>
                <c:pt idx="8">
                  <c:v>1870</c:v>
                </c:pt>
                <c:pt idx="9">
                  <c:v>2024</c:v>
                </c:pt>
                <c:pt idx="10" formatCode="0">
                  <c:v>3497</c:v>
                </c:pt>
                <c:pt idx="11" formatCode="0">
                  <c:v>2698</c:v>
                </c:pt>
                <c:pt idx="12">
                  <c:v>2533.4452696666667</c:v>
                </c:pt>
                <c:pt idx="13">
                  <c:v>1844.0490273333332</c:v>
                </c:pt>
                <c:pt idx="14">
                  <c:v>2546.5090909090909</c:v>
                </c:pt>
                <c:pt idx="15">
                  <c:v>2167.6454545454549</c:v>
                </c:pt>
                <c:pt idx="16">
                  <c:v>3001.9678420416667</c:v>
                </c:pt>
                <c:pt idx="17">
                  <c:v>3004.6489884583334</c:v>
                </c:pt>
                <c:pt idx="18">
                  <c:v>2809.6899969999999</c:v>
                </c:pt>
                <c:pt idx="19" formatCode="0">
                  <c:v>2064.1017903000002</c:v>
                </c:pt>
                <c:pt idx="20" formatCode="0">
                  <c:v>1737.6727316666668</c:v>
                </c:pt>
                <c:pt idx="21">
                  <c:v>3879.0299999999997</c:v>
                </c:pt>
                <c:pt idx="22">
                  <c:v>1848.625</c:v>
                </c:pt>
                <c:pt idx="23">
                  <c:v>1899.5</c:v>
                </c:pt>
                <c:pt idx="24" formatCode="0">
                  <c:v>3544.3916666666664</c:v>
                </c:pt>
                <c:pt idx="25" formatCode="0">
                  <c:v>2674.833333333333</c:v>
                </c:pt>
                <c:pt idx="26">
                  <c:v>2461.3683245555553</c:v>
                </c:pt>
                <c:pt idx="27">
                  <c:v>1912.4786471388888</c:v>
                </c:pt>
                <c:pt idx="28" formatCode="0">
                  <c:v>3040.7</c:v>
                </c:pt>
                <c:pt idx="29">
                  <c:v>2082.3000000000002</c:v>
                </c:pt>
                <c:pt idx="30">
                  <c:v>4341.3039963333331</c:v>
                </c:pt>
                <c:pt idx="31">
                  <c:v>3900.5193846666666</c:v>
                </c:pt>
                <c:pt idx="32">
                  <c:v>3102.6764633333332</c:v>
                </c:pt>
                <c:pt idx="33" formatCode="0">
                  <c:v>2174.0681306666665</c:v>
                </c:pt>
                <c:pt idx="34" formatCode="0">
                  <c:v>1649.3915863333334</c:v>
                </c:pt>
                <c:pt idx="35">
                  <c:v>3858</c:v>
                </c:pt>
                <c:pt idx="36">
                  <c:v>2018</c:v>
                </c:pt>
                <c:pt idx="37">
                  <c:v>1802</c:v>
                </c:pt>
                <c:pt idx="38" formatCode="0">
                  <c:v>3646</c:v>
                </c:pt>
                <c:pt idx="39" formatCode="0">
                  <c:v>2539</c:v>
                </c:pt>
                <c:pt idx="40">
                  <c:v>2634.5627916666663</c:v>
                </c:pt>
                <c:pt idx="41">
                  <c:v>1768.190182</c:v>
                </c:pt>
                <c:pt idx="42" formatCode="0">
                  <c:v>2434.9714285714285</c:v>
                </c:pt>
                <c:pt idx="43">
                  <c:v>1741.4142857142858</c:v>
                </c:pt>
                <c:pt idx="44">
                  <c:v>3221.7856165000003</c:v>
                </c:pt>
                <c:pt idx="45">
                  <c:v>2983.2567526666671</c:v>
                </c:pt>
                <c:pt idx="46">
                  <c:v>2925.4847761333335</c:v>
                </c:pt>
                <c:pt idx="47" formatCode="0">
                  <c:v>1756.5215015333335</c:v>
                </c:pt>
                <c:pt idx="48" formatCode="0">
                  <c:v>1447.0902900666665</c:v>
                </c:pt>
                <c:pt idx="49">
                  <c:v>3482.0124999999998</c:v>
                </c:pt>
                <c:pt idx="50">
                  <c:v>1981.9</c:v>
                </c:pt>
                <c:pt idx="51">
                  <c:v>1900.6</c:v>
                </c:pt>
                <c:pt idx="52" formatCode="0">
                  <c:v>3260.5666666666671</c:v>
                </c:pt>
                <c:pt idx="53" formatCode="0">
                  <c:v>2415.2833333333333</c:v>
                </c:pt>
                <c:pt idx="54">
                  <c:v>2501.3675031666667</c:v>
                </c:pt>
                <c:pt idx="55">
                  <c:v>1787.7007216666664</c:v>
                </c:pt>
              </c:numCache>
            </c:numRef>
          </c:yVal>
          <c:smooth val="0"/>
        </c:ser>
        <c:ser>
          <c:idx val="1"/>
          <c:order val="1"/>
          <c:tx>
            <c:strRef>
              <c:f>'Yield  x reenv'!$R$188</c:f>
              <c:strCache>
                <c:ptCount val="1"/>
                <c:pt idx="0">
                  <c:v>Reën blom tot 60 dae na  blom</c:v>
                </c:pt>
              </c:strCache>
            </c:strRef>
          </c:tx>
          <c:spPr>
            <a:ln w="25400" cap="rnd">
              <a:noFill/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rnd">
                <a:solidFill>
                  <a:schemeClr val="accent2"/>
                </a:solidFill>
                <a:round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marker>
          <c:trendline>
            <c:spPr>
              <a:ln w="19050" cap="rnd">
                <a:solidFill>
                  <a:schemeClr val="accent2"/>
                </a:solidFill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-0.27476279527559055"/>
                  <c:y val="-7.3900964678453376E-2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Yield  x reenv'!$R$189:$R$244</c:f>
              <c:numCache>
                <c:formatCode>0.0</c:formatCode>
                <c:ptCount val="56"/>
                <c:pt idx="0">
                  <c:v>75.80000000000004</c:v>
                </c:pt>
                <c:pt idx="1">
                  <c:v>67.200000000000017</c:v>
                </c:pt>
                <c:pt idx="2">
                  <c:v>118.20000000000006</c:v>
                </c:pt>
                <c:pt idx="3">
                  <c:v>78.800000000000026</c:v>
                </c:pt>
                <c:pt idx="4">
                  <c:v>79.400000000000034</c:v>
                </c:pt>
                <c:pt idx="5">
                  <c:v>25.399999999999991</c:v>
                </c:pt>
                <c:pt idx="6">
                  <c:v>14.399999999999995</c:v>
                </c:pt>
                <c:pt idx="7">
                  <c:v>76.400000000000006</c:v>
                </c:pt>
                <c:pt idx="8">
                  <c:v>42.000000000000007</c:v>
                </c:pt>
                <c:pt idx="9">
                  <c:v>42.800000000000004</c:v>
                </c:pt>
                <c:pt idx="10">
                  <c:v>83.200000000000031</c:v>
                </c:pt>
                <c:pt idx="11">
                  <c:v>95.400000000000034</c:v>
                </c:pt>
                <c:pt idx="12">
                  <c:v>23.999999999999986</c:v>
                </c:pt>
                <c:pt idx="13">
                  <c:v>15.399999999999995</c:v>
                </c:pt>
                <c:pt idx="14">
                  <c:v>84.600000000000037</c:v>
                </c:pt>
                <c:pt idx="15">
                  <c:v>67.200000000000017</c:v>
                </c:pt>
                <c:pt idx="16">
                  <c:v>119.40000000000005</c:v>
                </c:pt>
                <c:pt idx="17">
                  <c:v>87.600000000000009</c:v>
                </c:pt>
                <c:pt idx="18">
                  <c:v>79.600000000000023</c:v>
                </c:pt>
                <c:pt idx="19">
                  <c:v>25.399999999999991</c:v>
                </c:pt>
                <c:pt idx="20">
                  <c:v>20.399999999999995</c:v>
                </c:pt>
                <c:pt idx="21">
                  <c:v>76.8</c:v>
                </c:pt>
                <c:pt idx="22">
                  <c:v>42.000000000000007</c:v>
                </c:pt>
                <c:pt idx="23">
                  <c:v>42.800000000000004</c:v>
                </c:pt>
                <c:pt idx="24">
                  <c:v>94.600000000000037</c:v>
                </c:pt>
                <c:pt idx="25">
                  <c:v>96.400000000000034</c:v>
                </c:pt>
                <c:pt idx="26">
                  <c:v>32.999999999999993</c:v>
                </c:pt>
                <c:pt idx="27">
                  <c:v>15.799999999999997</c:v>
                </c:pt>
                <c:pt idx="28">
                  <c:v>67.200000000000017</c:v>
                </c:pt>
                <c:pt idx="29">
                  <c:v>51.800000000000026</c:v>
                </c:pt>
                <c:pt idx="30">
                  <c:v>146.60000000000002</c:v>
                </c:pt>
                <c:pt idx="31">
                  <c:v>84.200000000000017</c:v>
                </c:pt>
                <c:pt idx="32">
                  <c:v>69.800000000000026</c:v>
                </c:pt>
                <c:pt idx="33">
                  <c:v>25.199999999999992</c:v>
                </c:pt>
                <c:pt idx="34">
                  <c:v>20.399999999999995</c:v>
                </c:pt>
                <c:pt idx="35">
                  <c:v>81.600000000000009</c:v>
                </c:pt>
                <c:pt idx="36">
                  <c:v>42.800000000000004</c:v>
                </c:pt>
                <c:pt idx="37">
                  <c:v>38.000000000000007</c:v>
                </c:pt>
                <c:pt idx="38">
                  <c:v>94.600000000000037</c:v>
                </c:pt>
                <c:pt idx="39">
                  <c:v>79.200000000000031</c:v>
                </c:pt>
                <c:pt idx="40">
                  <c:v>15.799999999999997</c:v>
                </c:pt>
                <c:pt idx="41">
                  <c:v>14.999999999999996</c:v>
                </c:pt>
                <c:pt idx="42">
                  <c:v>52.400000000000027</c:v>
                </c:pt>
                <c:pt idx="43">
                  <c:v>51.600000000000023</c:v>
                </c:pt>
                <c:pt idx="44">
                  <c:v>151.60000000000002</c:v>
                </c:pt>
                <c:pt idx="45">
                  <c:v>89.000000000000014</c:v>
                </c:pt>
                <c:pt idx="46">
                  <c:v>74.600000000000023</c:v>
                </c:pt>
                <c:pt idx="47">
                  <c:v>25.199999999999992</c:v>
                </c:pt>
                <c:pt idx="48">
                  <c:v>27</c:v>
                </c:pt>
                <c:pt idx="49">
                  <c:v>70.200000000000031</c:v>
                </c:pt>
                <c:pt idx="50">
                  <c:v>38.000000000000007</c:v>
                </c:pt>
                <c:pt idx="51">
                  <c:v>38.400000000000006</c:v>
                </c:pt>
                <c:pt idx="52">
                  <c:v>96.400000000000034</c:v>
                </c:pt>
                <c:pt idx="53">
                  <c:v>79.200000000000031</c:v>
                </c:pt>
                <c:pt idx="54">
                  <c:v>15.799999999999997</c:v>
                </c:pt>
                <c:pt idx="55">
                  <c:v>14.999999999999996</c:v>
                </c:pt>
              </c:numCache>
            </c:numRef>
          </c:xVal>
          <c:yVal>
            <c:numRef>
              <c:f>'Yield  x reenv'!$G$189:$G$244</c:f>
              <c:numCache>
                <c:formatCode>General</c:formatCode>
                <c:ptCount val="56"/>
                <c:pt idx="0">
                  <c:v>2632.7</c:v>
                </c:pt>
                <c:pt idx="1">
                  <c:v>2283</c:v>
                </c:pt>
                <c:pt idx="2">
                  <c:v>3358.5344356666669</c:v>
                </c:pt>
                <c:pt idx="3">
                  <c:v>3188.3075180000001</c:v>
                </c:pt>
                <c:pt idx="4">
                  <c:v>2739.6968573333338</c:v>
                </c:pt>
                <c:pt idx="5" formatCode="0">
                  <c:v>2098.9960310000001</c:v>
                </c:pt>
                <c:pt idx="6" formatCode="0">
                  <c:v>2031.1288653333334</c:v>
                </c:pt>
                <c:pt idx="7">
                  <c:v>3796.3</c:v>
                </c:pt>
                <c:pt idx="8">
                  <c:v>1870</c:v>
                </c:pt>
                <c:pt idx="9">
                  <c:v>2024</c:v>
                </c:pt>
                <c:pt idx="10" formatCode="0">
                  <c:v>3497</c:v>
                </c:pt>
                <c:pt idx="11" formatCode="0">
                  <c:v>2698</c:v>
                </c:pt>
                <c:pt idx="12">
                  <c:v>2533.4452696666667</c:v>
                </c:pt>
                <c:pt idx="13">
                  <c:v>1844.0490273333332</c:v>
                </c:pt>
                <c:pt idx="14">
                  <c:v>2546.5090909090909</c:v>
                </c:pt>
                <c:pt idx="15">
                  <c:v>2167.6454545454549</c:v>
                </c:pt>
                <c:pt idx="16">
                  <c:v>3001.9678420416667</c:v>
                </c:pt>
                <c:pt idx="17">
                  <c:v>3004.6489884583334</c:v>
                </c:pt>
                <c:pt idx="18">
                  <c:v>2809.6899969999999</c:v>
                </c:pt>
                <c:pt idx="19" formatCode="0">
                  <c:v>2064.1017903000002</c:v>
                </c:pt>
                <c:pt idx="20" formatCode="0">
                  <c:v>1737.6727316666668</c:v>
                </c:pt>
                <c:pt idx="21">
                  <c:v>3879.0299999999997</c:v>
                </c:pt>
                <c:pt idx="22">
                  <c:v>1848.625</c:v>
                </c:pt>
                <c:pt idx="23">
                  <c:v>1899.5</c:v>
                </c:pt>
                <c:pt idx="24" formatCode="0">
                  <c:v>3544.3916666666664</c:v>
                </c:pt>
                <c:pt idx="25" formatCode="0">
                  <c:v>2674.833333333333</c:v>
                </c:pt>
                <c:pt idx="26">
                  <c:v>2461.3683245555553</c:v>
                </c:pt>
                <c:pt idx="27">
                  <c:v>1912.4786471388888</c:v>
                </c:pt>
                <c:pt idx="28" formatCode="0">
                  <c:v>3040.7</c:v>
                </c:pt>
                <c:pt idx="29">
                  <c:v>2082.3000000000002</c:v>
                </c:pt>
                <c:pt idx="30">
                  <c:v>4341.3039963333331</c:v>
                </c:pt>
                <c:pt idx="31">
                  <c:v>3900.5193846666666</c:v>
                </c:pt>
                <c:pt idx="32">
                  <c:v>3102.6764633333332</c:v>
                </c:pt>
                <c:pt idx="33" formatCode="0">
                  <c:v>2174.0681306666665</c:v>
                </c:pt>
                <c:pt idx="34" formatCode="0">
                  <c:v>1649.3915863333334</c:v>
                </c:pt>
                <c:pt idx="35">
                  <c:v>3858</c:v>
                </c:pt>
                <c:pt idx="36">
                  <c:v>2018</c:v>
                </c:pt>
                <c:pt idx="37">
                  <c:v>1802</c:v>
                </c:pt>
                <c:pt idx="38" formatCode="0">
                  <c:v>3646</c:v>
                </c:pt>
                <c:pt idx="39" formatCode="0">
                  <c:v>2539</c:v>
                </c:pt>
                <c:pt idx="40">
                  <c:v>2634.5627916666663</c:v>
                </c:pt>
                <c:pt idx="41">
                  <c:v>1768.190182</c:v>
                </c:pt>
                <c:pt idx="42" formatCode="0">
                  <c:v>2434.9714285714285</c:v>
                </c:pt>
                <c:pt idx="43">
                  <c:v>1741.4142857142858</c:v>
                </c:pt>
                <c:pt idx="44">
                  <c:v>3221.7856165000003</c:v>
                </c:pt>
                <c:pt idx="45">
                  <c:v>2983.2567526666671</c:v>
                </c:pt>
                <c:pt idx="46">
                  <c:v>2925.4847761333335</c:v>
                </c:pt>
                <c:pt idx="47" formatCode="0">
                  <c:v>1756.5215015333335</c:v>
                </c:pt>
                <c:pt idx="48" formatCode="0">
                  <c:v>1447.0902900666665</c:v>
                </c:pt>
                <c:pt idx="49">
                  <c:v>3482.0124999999998</c:v>
                </c:pt>
                <c:pt idx="50">
                  <c:v>1981.9</c:v>
                </c:pt>
                <c:pt idx="51">
                  <c:v>1900.6</c:v>
                </c:pt>
                <c:pt idx="52" formatCode="0">
                  <c:v>3260.5666666666671</c:v>
                </c:pt>
                <c:pt idx="53" formatCode="0">
                  <c:v>2415.2833333333333</c:v>
                </c:pt>
                <c:pt idx="54">
                  <c:v>2501.3675031666667</c:v>
                </c:pt>
                <c:pt idx="55">
                  <c:v>1787.7007216666664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55248288"/>
        <c:axId val="1355248832"/>
      </c:scatterChart>
      <c:valAx>
        <c:axId val="135524828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/>
                  <a:t>Reënval (mm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355248832"/>
        <c:crosses val="autoZero"/>
        <c:crossBetween val="midCat"/>
      </c:valAx>
      <c:valAx>
        <c:axId val="1355248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/>
                  <a:t>kg/ha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355248288"/>
        <c:crosses val="autoZero"/>
        <c:crossBetween val="midCat"/>
      </c:valAx>
      <c:spPr>
        <a:solidFill>
          <a:schemeClr val="accent3">
            <a:lumMod val="60000"/>
            <a:lumOff val="40000"/>
          </a:schemeClr>
        </a:solidFill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ZA" sz="1800" dirty="0" err="1"/>
              <a:t>Vroeë</a:t>
            </a:r>
            <a:r>
              <a:rPr lang="en-ZA" sz="1800" dirty="0"/>
              <a:t> </a:t>
            </a:r>
            <a:r>
              <a:rPr lang="en-ZA" sz="1800" dirty="0" err="1"/>
              <a:t>kultivars</a:t>
            </a:r>
            <a:endParaRPr lang="en-ZA" sz="18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863287356540968"/>
          <c:y val="0.18439212087772275"/>
          <c:w val="0.75614705265566018"/>
          <c:h val="0.57463557312565627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rnd">
                <a:solidFill>
                  <a:schemeClr val="accent1"/>
                </a:solidFill>
                <a:round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marker>
          <c:trendline>
            <c:spPr>
              <a:ln w="19050" cap="rnd">
                <a:solidFill>
                  <a:schemeClr val="accent1"/>
                </a:solidFill>
              </a:ln>
              <a:effectLst/>
            </c:spPr>
            <c:trendlineType val="power"/>
            <c:dispRSqr val="0"/>
            <c:dispEq val="0"/>
          </c:trendline>
          <c:trendline>
            <c:spPr>
              <a:ln w="19050" cap="rnd">
                <a:solidFill>
                  <a:schemeClr val="accent1"/>
                </a:solidFill>
              </a:ln>
              <a:effectLst/>
            </c:spPr>
            <c:trendlineType val="power"/>
            <c:dispRSqr val="0"/>
            <c:dispEq val="0"/>
          </c:trendline>
          <c:trendline>
            <c:spPr>
              <a:ln w="19050" cap="rnd">
                <a:solidFill>
                  <a:schemeClr val="accent1"/>
                </a:solidFill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-0.24446677882843379"/>
                  <c:y val="4.1224914648994609E-2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Planding date x yield'!$C$79:$C$92</c:f>
              <c:numCache>
                <c:formatCode>d\-mmm</c:formatCode>
                <c:ptCount val="14"/>
                <c:pt idx="0">
                  <c:v>44344</c:v>
                </c:pt>
                <c:pt idx="1">
                  <c:v>44343</c:v>
                </c:pt>
                <c:pt idx="2">
                  <c:v>44326</c:v>
                </c:pt>
                <c:pt idx="3">
                  <c:v>44325</c:v>
                </c:pt>
                <c:pt idx="4" formatCode="[$-409]d\-mmm;@">
                  <c:v>44359</c:v>
                </c:pt>
                <c:pt idx="5" formatCode="[$-409]d\-mmm;@">
                  <c:v>44354</c:v>
                </c:pt>
                <c:pt idx="6">
                  <c:v>44321</c:v>
                </c:pt>
                <c:pt idx="7">
                  <c:v>44352</c:v>
                </c:pt>
                <c:pt idx="8">
                  <c:v>44346</c:v>
                </c:pt>
                <c:pt idx="9">
                  <c:v>44324</c:v>
                </c:pt>
                <c:pt idx="10" formatCode="[$-409]d\-mmm;@">
                  <c:v>44341</c:v>
                </c:pt>
                <c:pt idx="11" formatCode="[$-409]d\-mmm;@">
                  <c:v>44325</c:v>
                </c:pt>
                <c:pt idx="12" formatCode="[$-409]d\-mmm;@">
                  <c:v>44341</c:v>
                </c:pt>
                <c:pt idx="13" formatCode="[$-409]d\-mmm;@">
                  <c:v>44325</c:v>
                </c:pt>
              </c:numCache>
            </c:numRef>
          </c:xVal>
          <c:yVal>
            <c:numRef>
              <c:f>'Planding date x yield'!$I$79:$I$92</c:f>
              <c:numCache>
                <c:formatCode>0</c:formatCode>
                <c:ptCount val="14"/>
                <c:pt idx="0">
                  <c:v>105.33072436405139</c:v>
                </c:pt>
                <c:pt idx="1">
                  <c:v>75.310397370772094</c:v>
                </c:pt>
                <c:pt idx="2">
                  <c:v>96.924808481089741</c:v>
                </c:pt>
                <c:pt idx="3">
                  <c:v>139.57256215835531</c:v>
                </c:pt>
                <c:pt idx="4">
                  <c:v>74.799318685095258</c:v>
                </c:pt>
                <c:pt idx="5">
                  <c:v>72.795941302571322</c:v>
                </c:pt>
                <c:pt idx="6">
                  <c:v>152.75009273969206</c:v>
                </c:pt>
                <c:pt idx="7">
                  <c:v>68.426815702203228</c:v>
                </c:pt>
                <c:pt idx="8">
                  <c:v>81.281077973743294</c:v>
                </c:pt>
                <c:pt idx="9">
                  <c:v>110.64116740822708</c:v>
                </c:pt>
                <c:pt idx="10">
                  <c:v>118.31834547225269</c:v>
                </c:pt>
                <c:pt idx="11">
                  <c:v>118.21276614860876</c:v>
                </c:pt>
                <c:pt idx="12">
                  <c:v>85.35846441213144</c:v>
                </c:pt>
                <c:pt idx="13">
                  <c:v>100.27751778120627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98186704"/>
        <c:axId val="1498183440"/>
      </c:scatterChart>
      <c:valAx>
        <c:axId val="14981867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/>
                  <a:t>Dag van plant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d\-mmm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498183440"/>
        <c:crosses val="autoZero"/>
        <c:crossBetween val="midCat"/>
      </c:valAx>
      <c:valAx>
        <c:axId val="1498183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/>
                  <a:t>% van die gemiddelde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4981867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ZA" sz="1800" dirty="0"/>
              <a:t>Medium </a:t>
            </a:r>
            <a:r>
              <a:rPr lang="en-ZA" sz="1800" dirty="0" err="1"/>
              <a:t>groeiseisoen</a:t>
            </a:r>
            <a:endParaRPr lang="en-ZA" sz="1800" dirty="0"/>
          </a:p>
        </c:rich>
      </c:tx>
      <c:layout>
        <c:manualLayout>
          <c:xMode val="edge"/>
          <c:yMode val="edge"/>
          <c:x val="0.37001038932633423"/>
          <c:y val="1.41802081140937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5814359142607171"/>
          <c:y val="0.18446087388416929"/>
          <c:w val="0.75598840769903763"/>
          <c:h val="0.5944067825312489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rnd">
                <a:solidFill>
                  <a:schemeClr val="accent1"/>
                </a:solidFill>
                <a:round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marker>
          <c:trendline>
            <c:spPr>
              <a:ln w="19050" cap="rnd">
                <a:solidFill>
                  <a:schemeClr val="accent1"/>
                </a:solidFill>
              </a:ln>
              <a:effectLst/>
            </c:spPr>
            <c:trendlineType val="power"/>
            <c:dispRSqr val="0"/>
            <c:dispEq val="0"/>
          </c:trendline>
          <c:trendline>
            <c:spPr>
              <a:ln w="19050" cap="rnd">
                <a:solidFill>
                  <a:schemeClr val="accent1"/>
                </a:solidFill>
              </a:ln>
              <a:effectLst/>
            </c:spPr>
            <c:trendlineType val="power"/>
            <c:dispRSqr val="0"/>
            <c:dispEq val="0"/>
          </c:trendline>
          <c:trendline>
            <c:spPr>
              <a:ln w="19050" cap="rnd">
                <a:solidFill>
                  <a:schemeClr val="accent1"/>
                </a:solidFill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-0.45977449693788275"/>
                  <c:y val="5.9766785821355056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600" b="0" i="0" u="none" strike="noStrike" kern="1200" baseline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defRPr>
                    </a:pPr>
                    <a:r>
                      <a:rPr lang="en-US" sz="1200" baseline="0" dirty="0"/>
                      <a:t>y = -1.6791x + 74549</a:t>
                    </a:r>
                    <a:br>
                      <a:rPr lang="en-US" sz="1200" baseline="0" dirty="0"/>
                    </a:br>
                    <a:r>
                      <a:rPr lang="en-US" sz="1200" baseline="0" dirty="0"/>
                      <a:t>R² = 0.6198</a:t>
                    </a:r>
                    <a:endParaRPr lang="en-US" sz="1200" dirty="0"/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Planding date x yield'!$C$107:$C$120</c:f>
              <c:numCache>
                <c:formatCode>d\-mmm</c:formatCode>
                <c:ptCount val="14"/>
                <c:pt idx="0">
                  <c:v>44344</c:v>
                </c:pt>
                <c:pt idx="1">
                  <c:v>44343</c:v>
                </c:pt>
                <c:pt idx="2">
                  <c:v>44326</c:v>
                </c:pt>
                <c:pt idx="3">
                  <c:v>44325</c:v>
                </c:pt>
                <c:pt idx="4" formatCode="[$-409]d\-mmm;@">
                  <c:v>44359</c:v>
                </c:pt>
                <c:pt idx="5" formatCode="[$-409]d\-mmm;@">
                  <c:v>44354</c:v>
                </c:pt>
                <c:pt idx="6">
                  <c:v>44321</c:v>
                </c:pt>
                <c:pt idx="7">
                  <c:v>44352</c:v>
                </c:pt>
                <c:pt idx="8">
                  <c:v>44346</c:v>
                </c:pt>
                <c:pt idx="9">
                  <c:v>44324</c:v>
                </c:pt>
                <c:pt idx="10" formatCode="[$-409]d\-mmm;@">
                  <c:v>44341</c:v>
                </c:pt>
                <c:pt idx="11" formatCode="[$-409]d\-mmm;@">
                  <c:v>44325</c:v>
                </c:pt>
                <c:pt idx="12" formatCode="[$-409]d\-mmm;@">
                  <c:v>44341</c:v>
                </c:pt>
                <c:pt idx="13" formatCode="[$-409]d\-mmm;@">
                  <c:v>44325</c:v>
                </c:pt>
              </c:numCache>
            </c:numRef>
          </c:xVal>
          <c:yVal>
            <c:numRef>
              <c:f>'Planding date x yield'!$I$107:$I$120</c:f>
              <c:numCache>
                <c:formatCode>0</c:formatCode>
                <c:ptCount val="14"/>
                <c:pt idx="0">
                  <c:v>99.923201112224874</c:v>
                </c:pt>
                <c:pt idx="1">
                  <c:v>73.959347242725627</c:v>
                </c:pt>
                <c:pt idx="2">
                  <c:v>103.48460763382072</c:v>
                </c:pt>
                <c:pt idx="3">
                  <c:v>134.89359789665119</c:v>
                </c:pt>
                <c:pt idx="4">
                  <c:v>78.63012732828912</c:v>
                </c:pt>
                <c:pt idx="5">
                  <c:v>81.993606940932452</c:v>
                </c:pt>
                <c:pt idx="6">
                  <c:v>144.05508062385263</c:v>
                </c:pt>
                <c:pt idx="7">
                  <c:v>59.867880544813652</c:v>
                </c:pt>
                <c:pt idx="8">
                  <c:v>72.669425087048097</c:v>
                </c:pt>
                <c:pt idx="9">
                  <c:v>121.03085364849807</c:v>
                </c:pt>
                <c:pt idx="10">
                  <c:v>123.4209503920648</c:v>
                </c:pt>
                <c:pt idx="11">
                  <c:v>133.28917881187283</c:v>
                </c:pt>
                <c:pt idx="12">
                  <c:v>72.044421244352279</c:v>
                </c:pt>
                <c:pt idx="13">
                  <c:v>100.73772149285357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55253728"/>
        <c:axId val="1355260800"/>
      </c:scatterChart>
      <c:valAx>
        <c:axId val="13552537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/>
                  <a:t>Dag van plant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d\-mmm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355260800"/>
        <c:crosses val="autoZero"/>
        <c:crossBetween val="midCat"/>
      </c:valAx>
      <c:valAx>
        <c:axId val="1355260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/>
                  <a:t>% van die gemiddelde</a:t>
                </a:r>
              </a:p>
            </c:rich>
          </c:tx>
          <c:layout>
            <c:manualLayout>
              <c:xMode val="edge"/>
              <c:yMode val="edge"/>
              <c:x val="6.3105205599300093E-2"/>
              <c:y val="0.266509009549681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35525372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4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47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spPr>
      <a:ln w="12700" cap="flat" cmpd="sng" algn="ctr">
        <a:solidFill>
          <a:schemeClr val="lt1">
            <a:alpha val="25000"/>
          </a:schemeClr>
        </a:solidFill>
        <a:round/>
      </a:ln>
    </cs:spPr>
    <cs:defRPr sz="1197" b="0" kern="1200" spc="10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pattFill prst="ltUpDiag">
        <a:fgClr>
          <a:schemeClr val="phClr"/>
        </a:fgClr>
        <a:bgClr>
          <a:schemeClr val="lt1"/>
        </a:bgClr>
      </a:patt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ltUpDiag">
        <a:fgClr>
          <a:schemeClr val="phClr"/>
        </a:fgClr>
        <a:bgClr>
          <a:schemeClr val="lt1"/>
        </a:bgClr>
      </a:pattFill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gradFill>
          <a:gsLst>
            <a:gs pos="79000">
              <a:schemeClr val="phClr"/>
            </a:gs>
            <a:gs pos="0">
              <a:schemeClr val="lt1">
                <a:alpha val="60000"/>
              </a:schemeClr>
            </a:gs>
          </a:gsLst>
          <a:lin ang="5400000" scaled="0"/>
        </a:gradFill>
        <a:round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/>
    <cs:effectRef idx="0"/>
    <cs:fontRef idx="minor">
      <a:schemeClr val="dk1"/>
    </cs:fontRef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alpha val="25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alpha val="1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4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4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34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297</cdr:x>
      <cdr:y>0.21689</cdr:y>
    </cdr:from>
    <cdr:to>
      <cdr:x>0.99171</cdr:x>
      <cdr:y>0.21689</cdr:y>
    </cdr:to>
    <cdr:cxnSp macro="">
      <cdr:nvCxnSpPr>
        <cdr:cNvPr id="3" name="Straight Connector 2"/>
        <cdr:cNvCxnSpPr/>
      </cdr:nvCxnSpPr>
      <cdr:spPr>
        <a:xfrm xmlns:a="http://schemas.openxmlformats.org/drawingml/2006/main">
          <a:off x="635948" y="808513"/>
          <a:ext cx="8006580" cy="0"/>
        </a:xfrm>
        <a:prstGeom xmlns:a="http://schemas.openxmlformats.org/drawingml/2006/main" prst="line">
          <a:avLst/>
        </a:prstGeom>
        <a:ln xmlns:a="http://schemas.openxmlformats.org/drawingml/2006/main"/>
      </cdr:spPr>
      <cdr:style>
        <a:lnRef xmlns:a="http://schemas.openxmlformats.org/drawingml/2006/main" idx="3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2">
          <a:schemeClr val="dk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691</cdr:x>
      <cdr:y>0.23931</cdr:y>
    </cdr:from>
    <cdr:to>
      <cdr:x>0.81079</cdr:x>
      <cdr:y>0.33631</cdr:y>
    </cdr:to>
    <cdr:sp macro="" textlink="">
      <cdr:nvSpPr>
        <cdr:cNvPr id="3" name="Left Brace 2"/>
        <cdr:cNvSpPr/>
      </cdr:nvSpPr>
      <cdr:spPr>
        <a:xfrm xmlns:a="http://schemas.openxmlformats.org/drawingml/2006/main" rot="3188670">
          <a:off x="6502210" y="917979"/>
          <a:ext cx="527720" cy="1295577"/>
        </a:xfrm>
        <a:prstGeom xmlns:a="http://schemas.openxmlformats.org/drawingml/2006/main" prst="leftBrace">
          <a:avLst/>
        </a:prstGeom>
        <a:noFill xmlns:a="http://schemas.openxmlformats.org/drawingml/2006/main"/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3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2">
          <a:schemeClr val="accent6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3" y="0"/>
            <a:ext cx="3043343" cy="465455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t>26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030"/>
            <a:ext cx="3043343" cy="465455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3" y="8842030"/>
            <a:ext cx="3043343" cy="465455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3" y="0"/>
            <a:ext cx="3043343" cy="465455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t>2021/05/26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1" y="4421823"/>
            <a:ext cx="5618480" cy="4189095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0"/>
            <a:ext cx="3043343" cy="465455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3" y="8842030"/>
            <a:ext cx="3043343" cy="465455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 smtClean="0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B1878D71-6A64-40A0-9FB6-D6D52A6DE7AD}" type="slidenum">
              <a:rPr lang="en-ZA" altLang="en-US" smtClean="0">
                <a:solidFill>
                  <a:prstClr val="black"/>
                </a:solidFill>
              </a:rPr>
              <a:pPr/>
              <a:t>2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0979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 sz="800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11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8727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ZA" altLang="en-US" sz="800" dirty="0" smtClean="0"/>
              <a:t>Swartland: 1.96ton/ha</a:t>
            </a:r>
          </a:p>
          <a:p>
            <a:r>
              <a:rPr lang="en-ZA" altLang="en-US" sz="800" dirty="0" smtClean="0"/>
              <a:t>2de </a:t>
            </a:r>
            <a:r>
              <a:rPr lang="en-ZA" altLang="en-US" sz="800" dirty="0" err="1" smtClean="0"/>
              <a:t>saai</a:t>
            </a:r>
            <a:r>
              <a:rPr lang="en-ZA" altLang="en-US" sz="800" dirty="0" smtClean="0"/>
              <a:t> </a:t>
            </a:r>
            <a:r>
              <a:rPr lang="en-ZA" altLang="en-US" sz="800" dirty="0" err="1" smtClean="0"/>
              <a:t>slegs</a:t>
            </a:r>
            <a:r>
              <a:rPr lang="en-ZA" altLang="en-US" sz="800" dirty="0" smtClean="0"/>
              <a:t> 3.5% </a:t>
            </a:r>
            <a:r>
              <a:rPr lang="en-ZA" altLang="en-US" sz="800" dirty="0" err="1" smtClean="0"/>
              <a:t>laer</a:t>
            </a:r>
            <a:r>
              <a:rPr lang="en-ZA" altLang="en-US" sz="800" dirty="0" smtClean="0"/>
              <a:t> </a:t>
            </a:r>
            <a:r>
              <a:rPr lang="en-ZA" altLang="en-US" sz="800" dirty="0" err="1" smtClean="0"/>
              <a:t>opbrengs</a:t>
            </a:r>
            <a:endParaRPr lang="en-ZA" altLang="en-US" sz="800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12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2926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af-ZA" altLang="en-US" noProof="0" dirty="0" smtClean="0"/>
              <a:t>Swartland: 1.45ton/ha, Langgewens slegs</a:t>
            </a:r>
            <a:r>
              <a:rPr lang="af-ZA" altLang="en-US" baseline="0" noProof="0" dirty="0" smtClean="0"/>
              <a:t> 210mm</a:t>
            </a:r>
          </a:p>
          <a:p>
            <a:r>
              <a:rPr lang="af-ZA" altLang="en-US" baseline="0" noProof="0" dirty="0" smtClean="0"/>
              <a:t>2de saai opbrengs 26% minder (650kg)</a:t>
            </a:r>
          </a:p>
          <a:p>
            <a:endParaRPr lang="en-ZA" altLang="en-US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13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1339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ZA" altLang="en-US" dirty="0" smtClean="0"/>
              <a:t>315mm op </a:t>
            </a:r>
            <a:r>
              <a:rPr lang="en-ZA" altLang="en-US" dirty="0" smtClean="0"/>
              <a:t>Langgewens (</a:t>
            </a:r>
            <a:r>
              <a:rPr lang="en-ZA" altLang="en-US" dirty="0" err="1" smtClean="0"/>
              <a:t>naby</a:t>
            </a:r>
            <a:r>
              <a:rPr lang="en-ZA" altLang="en-US" dirty="0" smtClean="0"/>
              <a:t> </a:t>
            </a:r>
            <a:r>
              <a:rPr lang="en-ZA" altLang="en-US" dirty="0" err="1" smtClean="0"/>
              <a:t>normaal</a:t>
            </a:r>
            <a:r>
              <a:rPr lang="en-ZA" altLang="en-US" dirty="0" smtClean="0"/>
              <a:t>). </a:t>
            </a:r>
            <a:r>
              <a:rPr lang="en-ZA" altLang="en-US" dirty="0" smtClean="0"/>
              <a:t>1.68ton/ha in Swartland</a:t>
            </a:r>
          </a:p>
          <a:p>
            <a:r>
              <a:rPr lang="af-ZA" altLang="en-US" noProof="0" dirty="0" smtClean="0"/>
              <a:t>2de saai</a:t>
            </a:r>
            <a:r>
              <a:rPr lang="af-ZA" altLang="en-US" baseline="0" noProof="0" dirty="0" smtClean="0"/>
              <a:t> 19 dae later 20% laer opbrengs</a:t>
            </a:r>
            <a:endParaRPr lang="af-ZA" altLang="en-US" noProof="0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14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0804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ZA" altLang="en-US" dirty="0" err="1" smtClean="0"/>
              <a:t>Behalwe</a:t>
            </a:r>
            <a:r>
              <a:rPr lang="en-ZA" altLang="en-US" dirty="0" smtClean="0"/>
              <a:t> </a:t>
            </a:r>
            <a:r>
              <a:rPr lang="en-ZA" altLang="en-US" dirty="0" err="1" smtClean="0"/>
              <a:t>dat</a:t>
            </a:r>
            <a:r>
              <a:rPr lang="en-ZA" altLang="en-US" dirty="0" smtClean="0"/>
              <a:t> 2019 </a:t>
            </a:r>
            <a:r>
              <a:rPr lang="en-ZA" altLang="en-US" dirty="0" err="1" smtClean="0"/>
              <a:t>droog</a:t>
            </a:r>
            <a:r>
              <a:rPr lang="en-ZA" altLang="en-US" dirty="0" smtClean="0"/>
              <a:t> was,</a:t>
            </a:r>
            <a:r>
              <a:rPr lang="en-ZA" altLang="en-US" baseline="0" dirty="0" smtClean="0"/>
              <a:t> was temperature </a:t>
            </a:r>
            <a:r>
              <a:rPr lang="en-ZA" altLang="en-US" baseline="0" dirty="0" err="1" smtClean="0"/>
              <a:t>baie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hoog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tydens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blom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en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saadvul</a:t>
            </a:r>
            <a:r>
              <a:rPr lang="en-ZA" altLang="en-US" baseline="0" dirty="0" smtClean="0"/>
              <a:t>.</a:t>
            </a:r>
          </a:p>
          <a:p>
            <a:r>
              <a:rPr lang="en-ZA" altLang="en-US" baseline="0" dirty="0" smtClean="0"/>
              <a:t>2018 se </a:t>
            </a:r>
            <a:r>
              <a:rPr lang="en-ZA" altLang="en-US" baseline="0" dirty="0" err="1" smtClean="0"/>
              <a:t>probleem</a:t>
            </a:r>
            <a:r>
              <a:rPr lang="en-ZA" altLang="en-US" baseline="0" dirty="0" smtClean="0"/>
              <a:t> was </a:t>
            </a:r>
            <a:r>
              <a:rPr lang="en-ZA" altLang="en-US" baseline="0" dirty="0" err="1" smtClean="0"/>
              <a:t>dat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Oktober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te</a:t>
            </a:r>
            <a:r>
              <a:rPr lang="en-ZA" altLang="en-US" baseline="0" dirty="0" smtClean="0"/>
              <a:t> warm </a:t>
            </a:r>
            <a:r>
              <a:rPr lang="en-ZA" altLang="en-US" baseline="0" dirty="0" err="1" smtClean="0"/>
              <a:t>geword</a:t>
            </a:r>
            <a:r>
              <a:rPr lang="en-ZA" altLang="en-US" baseline="0" dirty="0" smtClean="0"/>
              <a:t> het </a:t>
            </a:r>
            <a:r>
              <a:rPr lang="en-ZA" altLang="en-US" baseline="0" dirty="0" err="1" smtClean="0"/>
              <a:t>vir</a:t>
            </a:r>
            <a:r>
              <a:rPr lang="en-ZA" altLang="en-US" baseline="0" dirty="0" smtClean="0"/>
              <a:t> later </a:t>
            </a:r>
            <a:r>
              <a:rPr lang="en-ZA" altLang="en-US" baseline="0" dirty="0" err="1" smtClean="0"/>
              <a:t>kultivars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en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laat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aanplantings</a:t>
            </a:r>
            <a:r>
              <a:rPr lang="en-ZA" altLang="en-US" baseline="0" dirty="0" smtClean="0"/>
              <a:t>.</a:t>
            </a:r>
            <a:endParaRPr lang="en-ZA" altLang="en-US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15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5343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ZA" altLang="en-US" dirty="0" err="1" smtClean="0"/>
              <a:t>Hitte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tydens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en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na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blom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en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re</a:t>
            </a:r>
            <a:r>
              <a:rPr lang="en-ZA" altLang="en-US" baseline="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ë</a:t>
            </a:r>
            <a:r>
              <a:rPr lang="en-ZA" altLang="en-US" baseline="0" dirty="0" err="1" smtClean="0"/>
              <a:t>nval</a:t>
            </a:r>
            <a:r>
              <a:rPr lang="en-ZA" altLang="en-US" baseline="0" dirty="0" smtClean="0"/>
              <a:t> is </a:t>
            </a:r>
            <a:r>
              <a:rPr lang="en-ZA" altLang="en-US" baseline="0" dirty="0" err="1" smtClean="0"/>
              <a:t>baie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sterk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negatief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gekorreleer</a:t>
            </a:r>
            <a:r>
              <a:rPr lang="en-ZA" altLang="en-US" baseline="0" dirty="0" smtClean="0"/>
              <a:t>. </a:t>
            </a:r>
            <a:endParaRPr lang="en-ZA" altLang="en-US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16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12206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ZA" altLang="en-US" dirty="0" err="1" smtClean="0"/>
              <a:t>Re</a:t>
            </a:r>
            <a:r>
              <a:rPr lang="en-ZA" altLang="en-US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ënval</a:t>
            </a:r>
            <a:r>
              <a:rPr lang="en-ZA" alt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altLang="en-US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na</a:t>
            </a:r>
            <a:r>
              <a:rPr lang="en-ZA" altLang="en-US" baseline="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altLang="en-US" baseline="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blom</a:t>
            </a:r>
            <a:r>
              <a:rPr lang="en-ZA" altLang="en-US" baseline="0" dirty="0" smtClean="0">
                <a:latin typeface="Calibri" panose="020F0502020204030204" pitchFamily="34" charset="0"/>
                <a:cs typeface="Calibri" panose="020F0502020204030204" pitchFamily="34" charset="0"/>
              </a:rPr>
              <a:t> het ‘n </a:t>
            </a:r>
            <a:r>
              <a:rPr lang="en-ZA" altLang="en-US" baseline="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groter</a:t>
            </a:r>
            <a:r>
              <a:rPr lang="en-ZA" altLang="en-US" baseline="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altLang="en-US" baseline="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nvloed</a:t>
            </a:r>
            <a:r>
              <a:rPr lang="en-ZA" altLang="en-US" baseline="0" dirty="0" smtClean="0">
                <a:latin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en-ZA" altLang="en-US" baseline="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voor</a:t>
            </a:r>
            <a:r>
              <a:rPr lang="en-ZA" altLang="en-US" baseline="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altLang="en-US" baseline="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blomperiode</a:t>
            </a:r>
            <a:r>
              <a:rPr lang="en-ZA" altLang="en-US" baseline="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ZA" altLang="en-US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17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0414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18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1124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19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3363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20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624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 smtClean="0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B1878D71-6A64-40A0-9FB6-D6D52A6DE7AD}" type="slidenum">
              <a:rPr lang="en-ZA" altLang="en-US" smtClean="0">
                <a:solidFill>
                  <a:prstClr val="black"/>
                </a:solidFill>
              </a:rPr>
              <a:pPr/>
              <a:t>3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6301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21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714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 smtClean="0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B1878D71-6A64-40A0-9FB6-D6D52A6DE7AD}" type="slidenum">
              <a:rPr lang="en-ZA" altLang="en-US" smtClean="0">
                <a:solidFill>
                  <a:prstClr val="black"/>
                </a:solidFill>
              </a:rPr>
              <a:pPr/>
              <a:t>4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6142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ZA" altLang="en-US" dirty="0" smtClean="0"/>
              <a:t>Let op </a:t>
            </a:r>
            <a:r>
              <a:rPr lang="en-ZA" altLang="en-US" dirty="0" err="1" smtClean="0"/>
              <a:t>kolom</a:t>
            </a:r>
            <a:r>
              <a:rPr lang="en-ZA" altLang="en-US" dirty="0" smtClean="0"/>
              <a:t> 3, </a:t>
            </a:r>
            <a:r>
              <a:rPr lang="en-ZA" altLang="en-US" dirty="0" err="1" smtClean="0"/>
              <a:t>daar</a:t>
            </a:r>
            <a:r>
              <a:rPr lang="en-ZA" altLang="en-US" dirty="0" smtClean="0"/>
              <a:t> is </a:t>
            </a:r>
            <a:r>
              <a:rPr lang="en-ZA" altLang="en-US" dirty="0" err="1" smtClean="0"/>
              <a:t>nuwe</a:t>
            </a:r>
            <a:r>
              <a:rPr lang="en-ZA" altLang="en-US" dirty="0" smtClean="0"/>
              <a:t> </a:t>
            </a:r>
            <a:r>
              <a:rPr lang="en-ZA" altLang="en-US" dirty="0" err="1" smtClean="0"/>
              <a:t>opsies</a:t>
            </a:r>
            <a:r>
              <a:rPr lang="en-ZA" altLang="en-US" dirty="0" smtClean="0"/>
              <a:t> as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saadbehandeling</a:t>
            </a:r>
            <a:r>
              <a:rPr lang="en-ZA" altLang="en-US" baseline="0" dirty="0" smtClean="0"/>
              <a:t> teen swartstam.</a:t>
            </a:r>
          </a:p>
          <a:p>
            <a:r>
              <a:rPr lang="en-ZA" altLang="en-US" dirty="0" smtClean="0"/>
              <a:t>CL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kultivars</a:t>
            </a:r>
            <a:r>
              <a:rPr lang="en-ZA" altLang="en-US" baseline="0" dirty="0" smtClean="0"/>
              <a:t> het </a:t>
            </a:r>
            <a:r>
              <a:rPr lang="en-ZA" altLang="en-US" baseline="0" dirty="0" err="1" smtClean="0"/>
              <a:t>nie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baie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verskille</a:t>
            </a:r>
            <a:r>
              <a:rPr lang="en-ZA" altLang="en-US" baseline="0" dirty="0" smtClean="0"/>
              <a:t> in </a:t>
            </a:r>
            <a:r>
              <a:rPr lang="en-ZA" altLang="en-US" baseline="0" dirty="0" err="1" smtClean="0"/>
              <a:t>geen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weerstand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nie</a:t>
            </a:r>
            <a:r>
              <a:rPr lang="en-ZA" altLang="en-US" baseline="0" dirty="0" smtClean="0"/>
              <a:t> (</a:t>
            </a:r>
            <a:r>
              <a:rPr lang="en-ZA" altLang="en-US" baseline="0" dirty="0" err="1" smtClean="0"/>
              <a:t>korter</a:t>
            </a:r>
            <a:r>
              <a:rPr lang="en-ZA" altLang="en-US" baseline="0" dirty="0" smtClean="0"/>
              <a:t> 2 </a:t>
            </a:r>
            <a:r>
              <a:rPr lang="en-ZA" altLang="en-US" baseline="0" dirty="0" err="1" smtClean="0"/>
              <a:t>groeiers</a:t>
            </a:r>
            <a:r>
              <a:rPr lang="en-ZA" altLang="en-US" baseline="0" dirty="0" smtClean="0"/>
              <a:t> is B) </a:t>
            </a:r>
            <a:r>
              <a:rPr lang="en-ZA" altLang="en-US" b="1" baseline="0" dirty="0" smtClean="0"/>
              <a:t>44Y94</a:t>
            </a:r>
            <a:r>
              <a:rPr lang="en-ZA" altLang="en-US" baseline="0" dirty="0" smtClean="0"/>
              <a:t> is BC </a:t>
            </a:r>
            <a:r>
              <a:rPr lang="en-ZA" altLang="en-US" baseline="0" dirty="0" err="1" smtClean="0"/>
              <a:t>en</a:t>
            </a:r>
            <a:r>
              <a:rPr lang="en-ZA" altLang="en-US" baseline="0" dirty="0" smtClean="0"/>
              <a:t> word </a:t>
            </a:r>
            <a:r>
              <a:rPr lang="en-ZA" altLang="en-US" baseline="0" dirty="0" err="1" smtClean="0"/>
              <a:t>vanjaar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getoets</a:t>
            </a:r>
            <a:r>
              <a:rPr lang="en-ZA" altLang="en-US" baseline="0" dirty="0" smtClean="0"/>
              <a:t>.</a:t>
            </a:r>
            <a:endParaRPr lang="en-ZA" altLang="en-US" dirty="0" smtClean="0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B1878D71-6A64-40A0-9FB6-D6D52A6DE7AD}" type="slidenum">
              <a:rPr lang="en-ZA" altLang="en-US" smtClean="0">
                <a:solidFill>
                  <a:prstClr val="black"/>
                </a:solidFill>
              </a:rPr>
              <a:pPr/>
              <a:t>5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9982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6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1394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ZA" altLang="en-US" dirty="0" err="1" smtClean="0"/>
              <a:t>Kultivars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gemerk</a:t>
            </a:r>
            <a:r>
              <a:rPr lang="en-ZA" altLang="en-US" baseline="0" dirty="0" smtClean="0"/>
              <a:t> in </a:t>
            </a:r>
            <a:r>
              <a:rPr lang="en-ZA" altLang="en-US" baseline="0" dirty="0" err="1" smtClean="0"/>
              <a:t>oranje</a:t>
            </a:r>
            <a:r>
              <a:rPr lang="en-ZA" altLang="en-US" baseline="0" dirty="0" smtClean="0"/>
              <a:t> is die </a:t>
            </a:r>
            <a:r>
              <a:rPr lang="en-ZA" altLang="en-US" baseline="0" dirty="0" err="1" smtClean="0"/>
              <a:t>stadiger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kultivars</a:t>
            </a:r>
            <a:r>
              <a:rPr lang="en-ZA" altLang="en-US" baseline="0" dirty="0" smtClean="0"/>
              <a:t>.</a:t>
            </a:r>
            <a:endParaRPr lang="en-ZA" altLang="en-US" dirty="0" smtClean="0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B1878D71-6A64-40A0-9FB6-D6D52A6DE7AD}" type="slidenum">
              <a:rPr lang="en-ZA" altLang="en-US" smtClean="0">
                <a:solidFill>
                  <a:prstClr val="black"/>
                </a:solidFill>
              </a:rPr>
              <a:pPr/>
              <a:t>7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7972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f-ZA" dirty="0" smtClean="0"/>
              <a:t>Die CL kultivars se opbrengs was 22% beter as TT groep in 2020.</a:t>
            </a:r>
            <a:endParaRPr lang="af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429659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ZA" altLang="en-US" dirty="0" smtClean="0"/>
              <a:t>Langer </a:t>
            </a:r>
            <a:r>
              <a:rPr lang="en-ZA" altLang="en-US" dirty="0" err="1" smtClean="0"/>
              <a:t>groeiers</a:t>
            </a:r>
            <a:r>
              <a:rPr lang="en-ZA" altLang="en-US" dirty="0" smtClean="0"/>
              <a:t> </a:t>
            </a:r>
            <a:r>
              <a:rPr lang="en-ZA" altLang="en-US" dirty="0" err="1" smtClean="0"/>
              <a:t>sukkel</a:t>
            </a:r>
            <a:r>
              <a:rPr lang="en-ZA" altLang="en-US" dirty="0" smtClean="0"/>
              <a:t> </a:t>
            </a:r>
            <a:r>
              <a:rPr lang="en-ZA" altLang="en-US" dirty="0" err="1" smtClean="0"/>
              <a:t>tradisioneel</a:t>
            </a:r>
            <a:r>
              <a:rPr lang="en-ZA" altLang="en-US" dirty="0" smtClean="0"/>
              <a:t> in Swartland</a:t>
            </a:r>
          </a:p>
          <a:p>
            <a:r>
              <a:rPr lang="en-ZA" altLang="en-US" dirty="0" err="1" smtClean="0"/>
              <a:t>Kultivars</a:t>
            </a:r>
            <a:r>
              <a:rPr lang="en-ZA" altLang="en-US" dirty="0" smtClean="0"/>
              <a:t> </a:t>
            </a:r>
            <a:r>
              <a:rPr lang="en-ZA" altLang="en-US" dirty="0" err="1" smtClean="0"/>
              <a:t>gemerk</a:t>
            </a:r>
            <a:r>
              <a:rPr lang="en-ZA" altLang="en-US" baseline="0" dirty="0" smtClean="0"/>
              <a:t> in </a:t>
            </a:r>
            <a:r>
              <a:rPr lang="en-ZA" altLang="en-US" baseline="0" dirty="0" err="1" smtClean="0"/>
              <a:t>groen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doen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gemiddeld</a:t>
            </a:r>
            <a:r>
              <a:rPr lang="en-ZA" altLang="en-US" baseline="0" dirty="0" smtClean="0"/>
              <a:t> die </a:t>
            </a:r>
            <a:r>
              <a:rPr lang="en-ZA" altLang="en-US" baseline="0" dirty="0" err="1" smtClean="0"/>
              <a:t>beste</a:t>
            </a:r>
            <a:r>
              <a:rPr lang="en-ZA" altLang="en-US" baseline="0" dirty="0" smtClean="0"/>
              <a:t>. Alpha is die </a:t>
            </a:r>
            <a:r>
              <a:rPr lang="en-ZA" altLang="en-US" baseline="0" dirty="0" err="1" smtClean="0"/>
              <a:t>beste</a:t>
            </a:r>
            <a:r>
              <a:rPr lang="en-ZA" altLang="en-US" baseline="0" dirty="0" smtClean="0"/>
              <a:t> TT, Hyola350 </a:t>
            </a:r>
            <a:r>
              <a:rPr lang="en-ZA" altLang="en-US" baseline="0" dirty="0" err="1" smtClean="0"/>
              <a:t>kon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moontlik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nie</a:t>
            </a:r>
            <a:r>
              <a:rPr lang="en-ZA" altLang="en-US" baseline="0" dirty="0" smtClean="0"/>
              <a:t> die </a:t>
            </a:r>
            <a:r>
              <a:rPr lang="en-ZA" altLang="en-US" baseline="0" dirty="0" err="1" smtClean="0"/>
              <a:t>lang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seisoen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benut</a:t>
            </a:r>
            <a:r>
              <a:rPr lang="en-ZA" altLang="en-US" baseline="0" dirty="0" smtClean="0"/>
              <a:t> </a:t>
            </a:r>
            <a:r>
              <a:rPr lang="en-ZA" altLang="en-US" baseline="0" dirty="0" err="1" smtClean="0"/>
              <a:t>nie</a:t>
            </a:r>
            <a:r>
              <a:rPr lang="en-ZA" altLang="en-US" baseline="0" dirty="0" smtClean="0"/>
              <a:t>.</a:t>
            </a:r>
            <a:endParaRPr lang="en-ZA" altLang="en-US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9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604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4064" indent="-286179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4715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2600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60486" indent="-22894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8372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6258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34144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92029" indent="-228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4C9D935-F818-444F-B922-09B914D2E5CC}" type="slidenum">
              <a:rPr lang="en-ZA" altLang="en-US" smtClean="0">
                <a:solidFill>
                  <a:prstClr val="black"/>
                </a:solidFill>
              </a:rPr>
              <a:pPr/>
              <a:t>10</a:t>
            </a:fld>
            <a:endParaRPr lang="en-ZA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5295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7.xml"/><Relationship Id="rId1" Type="http://schemas.openxmlformats.org/officeDocument/2006/relationships/tags" Target="../tags/tag156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9.xml"/><Relationship Id="rId1" Type="http://schemas.openxmlformats.org/officeDocument/2006/relationships/tags" Target="../tags/tag158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1.xml"/><Relationship Id="rId1" Type="http://schemas.openxmlformats.org/officeDocument/2006/relationships/tags" Target="../tags/tag16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3.xml"/><Relationship Id="rId1" Type="http://schemas.openxmlformats.org/officeDocument/2006/relationships/tags" Target="../tags/tag16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5.xml"/><Relationship Id="rId1" Type="http://schemas.openxmlformats.org/officeDocument/2006/relationships/tags" Target="../tags/tag16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9.xml"/><Relationship Id="rId1" Type="http://schemas.openxmlformats.org/officeDocument/2006/relationships/tags" Target="../tags/tag168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1.xml"/><Relationship Id="rId1" Type="http://schemas.openxmlformats.org/officeDocument/2006/relationships/tags" Target="../tags/tag170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3.xml"/><Relationship Id="rId1" Type="http://schemas.openxmlformats.org/officeDocument/2006/relationships/tags" Target="../tags/tag17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5.xml"/><Relationship Id="rId1" Type="http://schemas.openxmlformats.org/officeDocument/2006/relationships/tags" Target="../tags/tag17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7.xml"/><Relationship Id="rId1" Type="http://schemas.openxmlformats.org/officeDocument/2006/relationships/tags" Target="../tags/tag17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9.xml"/><Relationship Id="rId1" Type="http://schemas.openxmlformats.org/officeDocument/2006/relationships/tags" Target="../tags/tag178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1.xml"/><Relationship Id="rId1" Type="http://schemas.openxmlformats.org/officeDocument/2006/relationships/tags" Target="../tags/tag18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3.xml"/><Relationship Id="rId1" Type="http://schemas.openxmlformats.org/officeDocument/2006/relationships/tags" Target="../tags/tag18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5.xml"/><Relationship Id="rId1" Type="http://schemas.openxmlformats.org/officeDocument/2006/relationships/tags" Target="../tags/tag18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7.xml"/><Relationship Id="rId1" Type="http://schemas.openxmlformats.org/officeDocument/2006/relationships/tags" Target="../tags/tag18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9.xml"/><Relationship Id="rId1" Type="http://schemas.openxmlformats.org/officeDocument/2006/relationships/tags" Target="../tags/tag18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1.xml"/><Relationship Id="rId1" Type="http://schemas.openxmlformats.org/officeDocument/2006/relationships/tags" Target="../tags/tag190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3.xml"/><Relationship Id="rId1" Type="http://schemas.openxmlformats.org/officeDocument/2006/relationships/tags" Target="../tags/tag19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5.xml"/><Relationship Id="rId1" Type="http://schemas.openxmlformats.org/officeDocument/2006/relationships/tags" Target="../tags/tag19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3.xml"/><Relationship Id="rId1" Type="http://schemas.openxmlformats.org/officeDocument/2006/relationships/tags" Target="../tags/tag20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5.xml"/><Relationship Id="rId1" Type="http://schemas.openxmlformats.org/officeDocument/2006/relationships/tags" Target="../tags/tag20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7.xml"/><Relationship Id="rId1" Type="http://schemas.openxmlformats.org/officeDocument/2006/relationships/tags" Target="../tags/tag20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9.xml"/><Relationship Id="rId1" Type="http://schemas.openxmlformats.org/officeDocument/2006/relationships/tags" Target="../tags/tag208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1.xml"/><Relationship Id="rId1" Type="http://schemas.openxmlformats.org/officeDocument/2006/relationships/tags" Target="../tags/tag210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3.xml"/><Relationship Id="rId1" Type="http://schemas.openxmlformats.org/officeDocument/2006/relationships/tags" Target="../tags/tag2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5.xml"/><Relationship Id="rId1" Type="http://schemas.openxmlformats.org/officeDocument/2006/relationships/tags" Target="../tags/tag21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7.xml"/><Relationship Id="rId1" Type="http://schemas.openxmlformats.org/officeDocument/2006/relationships/tags" Target="../tags/tag216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9.xml"/><Relationship Id="rId1" Type="http://schemas.openxmlformats.org/officeDocument/2006/relationships/tags" Target="../tags/tag218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1.xml"/><Relationship Id="rId1" Type="http://schemas.openxmlformats.org/officeDocument/2006/relationships/tags" Target="../tags/tag220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3.xml"/><Relationship Id="rId1" Type="http://schemas.openxmlformats.org/officeDocument/2006/relationships/tags" Target="../tags/tag22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5.xml"/><Relationship Id="rId1" Type="http://schemas.openxmlformats.org/officeDocument/2006/relationships/tags" Target="../tags/tag224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7.xml"/><Relationship Id="rId1" Type="http://schemas.openxmlformats.org/officeDocument/2006/relationships/tags" Target="../tags/tag22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9.xml"/><Relationship Id="rId1" Type="http://schemas.openxmlformats.org/officeDocument/2006/relationships/tags" Target="../tags/tag228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1.xml"/><Relationship Id="rId1" Type="http://schemas.openxmlformats.org/officeDocument/2006/relationships/tags" Target="../tags/tag23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3.xml"/><Relationship Id="rId1" Type="http://schemas.openxmlformats.org/officeDocument/2006/relationships/tags" Target="../tags/tag232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5.xml"/><Relationship Id="rId1" Type="http://schemas.openxmlformats.org/officeDocument/2006/relationships/tags" Target="../tags/tag23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7.xml"/><Relationship Id="rId1" Type="http://schemas.openxmlformats.org/officeDocument/2006/relationships/tags" Target="../tags/tag23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9.xml"/><Relationship Id="rId1" Type="http://schemas.openxmlformats.org/officeDocument/2006/relationships/tags" Target="../tags/tag23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1.xml"/><Relationship Id="rId1" Type="http://schemas.openxmlformats.org/officeDocument/2006/relationships/tags" Target="../tags/tag240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.vml"/><Relationship Id="rId6" Type="http://schemas.openxmlformats.org/officeDocument/2006/relationships/tags" Target="../tags/tag52.xml"/><Relationship Id="rId11" Type="http://schemas.openxmlformats.org/officeDocument/2006/relationships/image" Target="../media/image10.png"/><Relationship Id="rId5" Type="http://schemas.openxmlformats.org/officeDocument/2006/relationships/tags" Target="../tags/tag51.xml"/><Relationship Id="rId10" Type="http://schemas.openxmlformats.org/officeDocument/2006/relationships/image" Target="../media/image9.jpeg"/><Relationship Id="rId4" Type="http://schemas.openxmlformats.org/officeDocument/2006/relationships/tags" Target="../tags/tag50.xml"/><Relationship Id="rId9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5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.vml"/><Relationship Id="rId6" Type="http://schemas.openxmlformats.org/officeDocument/2006/relationships/tags" Target="../tags/tag57.xml"/><Relationship Id="rId11" Type="http://schemas.openxmlformats.org/officeDocument/2006/relationships/image" Target="../media/image10.png"/><Relationship Id="rId5" Type="http://schemas.openxmlformats.org/officeDocument/2006/relationships/tags" Target="../tags/tag56.xml"/><Relationship Id="rId10" Type="http://schemas.openxmlformats.org/officeDocument/2006/relationships/image" Target="../media/image9.jpeg"/><Relationship Id="rId4" Type="http://schemas.openxmlformats.org/officeDocument/2006/relationships/tags" Target="../tags/tag55.xml"/><Relationship Id="rId9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tags" Target="../tags/tag9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tags" Target="../tags/tag9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tags" Target="../tags/tag9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9.xml"/><Relationship Id="rId1" Type="http://schemas.openxmlformats.org/officeDocument/2006/relationships/tags" Target="../tags/tag9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1.xml"/><Relationship Id="rId1" Type="http://schemas.openxmlformats.org/officeDocument/2006/relationships/tags" Target="../tags/tag100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3.xml"/><Relationship Id="rId1" Type="http://schemas.openxmlformats.org/officeDocument/2006/relationships/tags" Target="../tags/tag10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1.xml"/><Relationship Id="rId1" Type="http://schemas.openxmlformats.org/officeDocument/2006/relationships/tags" Target="../tags/tag1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tags" Target="../tags/tag11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tags" Target="../tags/tag11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7.xml"/><Relationship Id="rId1" Type="http://schemas.openxmlformats.org/officeDocument/2006/relationships/tags" Target="../tags/tag11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1.xml"/><Relationship Id="rId1" Type="http://schemas.openxmlformats.org/officeDocument/2006/relationships/tags" Target="../tags/tag12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3.xml"/><Relationship Id="rId1" Type="http://schemas.openxmlformats.org/officeDocument/2006/relationships/tags" Target="../tags/tag12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5.xml"/><Relationship Id="rId1" Type="http://schemas.openxmlformats.org/officeDocument/2006/relationships/tags" Target="../tags/tag12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7.xml"/><Relationship Id="rId1" Type="http://schemas.openxmlformats.org/officeDocument/2006/relationships/tags" Target="../tags/tag12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9.xml"/><Relationship Id="rId1" Type="http://schemas.openxmlformats.org/officeDocument/2006/relationships/tags" Target="../tags/tag12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5.xml"/><Relationship Id="rId1" Type="http://schemas.openxmlformats.org/officeDocument/2006/relationships/tags" Target="../tags/tag13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7.xml"/><Relationship Id="rId1" Type="http://schemas.openxmlformats.org/officeDocument/2006/relationships/tags" Target="../tags/tag13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9.xml"/><Relationship Id="rId1" Type="http://schemas.openxmlformats.org/officeDocument/2006/relationships/tags" Target="../tags/tag13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1.xml"/><Relationship Id="rId1" Type="http://schemas.openxmlformats.org/officeDocument/2006/relationships/tags" Target="../tags/tag140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3.xml"/><Relationship Id="rId1" Type="http://schemas.openxmlformats.org/officeDocument/2006/relationships/tags" Target="../tags/tag14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5.xml"/><Relationship Id="rId1" Type="http://schemas.openxmlformats.org/officeDocument/2006/relationships/tags" Target="../tags/tag14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7.xml"/><Relationship Id="rId1" Type="http://schemas.openxmlformats.org/officeDocument/2006/relationships/tags" Target="../tags/tag14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9.xml"/><Relationship Id="rId1" Type="http://schemas.openxmlformats.org/officeDocument/2006/relationships/tags" Target="../tags/tag14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82908"/>
            <a:ext cx="3656932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83201553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616847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786064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07340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375481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77906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47751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47638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49591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59015058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43384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47964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60056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181368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14055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879189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414775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670183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892534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216493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382315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18035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7700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399406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24919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62678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82908"/>
            <a:ext cx="3656932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62559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482950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005168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92107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930686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504364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8307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8282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37260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227378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68621792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291986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524675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072797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03422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387108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303178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85452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396954566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236294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02261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459059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426087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18790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17684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61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29254666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5410E1-CD35-42F8-902D-C1C28BFEA775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D8BB3B-AEDF-49E1-A6BD-38850E2AD345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3253666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760960-8C16-4B89-B840-E51EC3F8879A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A73EA6-BBA7-4018-B355-665A44F306A3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4239210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107BA2-2F43-4A41-AED6-0533FFDF11E8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2D2627-51E6-48C1-A268-B648645A7E2D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2230671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82C30E-F212-49F1-AF75-E2840BDD03B5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49857E-91F9-4516-B9CC-CC24D9FA7ED2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2933662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C3A07F-F886-47E4-8ABC-3719E7D1034D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40EEDD-3692-4D28-898C-49C7F2028B08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071058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740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6F60DF-FBA5-49B0-B295-472F1D44A9A1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CB06FA-ED98-4A4D-8D5A-DEEDCD0E38BC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42920628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CEF24-1132-4320-9001-F874F90FA47B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4607EC-F63D-4882-8C0F-843CC0611862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5018737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5D0E3D-E1A5-4BEF-B87C-765A1BDA59DA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3AB06C-355B-4EA2-A31D-629927C3176A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7992006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8EE963-599D-4FB5-823F-9B31A32A2C83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B555BB-BB92-469B-99C0-E6FD2C8C6770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6311962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52B15C-E307-4CC6-A0EE-28EC445CCE58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FDA88F-33C4-4F8E-AC3C-9D7B459C1FA5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4489991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5AD2E4-3BBC-4219-8C64-0CDB94495BF8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474606-708E-45AC-BAF0-2BFD59B5BB97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8563995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Rectangle 8"/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1" name="Rectangle 13"/>
          <p:cNvSpPr>
            <a:spLocks noChangeArrowheads="1"/>
          </p:cNvSpPr>
          <p:nvPr userDrawn="1"/>
        </p:nvSpPr>
        <p:spPr bwMode="auto">
          <a:xfrm>
            <a:off x="2835275" y="3497263"/>
            <a:ext cx="4016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en-GB" altLang="en-US" sz="1100" b="1" smtClean="0">
                <a:solidFill>
                  <a:srgbClr val="003399"/>
                </a:solidFill>
                <a:latin typeface="Century Gothic" panose="020B0502020202020204" pitchFamily="34" charset="0"/>
              </a:rPr>
              <a:t>Tel: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4779963" y="3497263"/>
            <a:ext cx="4032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en-GB" altLang="en-US" sz="1100" b="1" smtClean="0">
                <a:solidFill>
                  <a:srgbClr val="003399"/>
                </a:solidFill>
                <a:latin typeface="Century Gothic" panose="020B0502020202020204" pitchFamily="34" charset="0"/>
              </a:rPr>
              <a:t>Fax:</a:t>
            </a:r>
          </a:p>
        </p:txBody>
      </p: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2835275" y="4043363"/>
            <a:ext cx="3733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en-GB" altLang="en-US" sz="1100" b="1" smtClean="0">
                <a:solidFill>
                  <a:srgbClr val="003399"/>
                </a:solidFill>
                <a:latin typeface="Century Gothic" panose="020B0502020202020204" pitchFamily="34" charset="0"/>
              </a:rPr>
              <a:t>www.elsenburg.com</a:t>
            </a: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295275" y="565150"/>
            <a:ext cx="2405063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smtClean="0">
                <a:solidFill>
                  <a:srgbClr val="FFFFFF"/>
                </a:solidFill>
                <a:latin typeface="Century Gothic" panose="020B0502020202020204" pitchFamily="34" charset="0"/>
              </a:rPr>
              <a:t>Contact Us</a:t>
            </a:r>
            <a:endParaRPr lang="en-GB" altLang="en-US" sz="2400" smtClean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925" y="1927225"/>
            <a:ext cx="2406650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56726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smtClean="0">
                <a:solidFill>
                  <a:srgbClr val="998F86"/>
                </a:solidFill>
                <a:latin typeface="Century Gothic" pitchFamily="34" charset="0"/>
              </a:rPr>
              <a:t>© Western Cape Government 2012  |</a:t>
            </a:r>
            <a:endParaRPr lang="en-GB" altLang="en-US" sz="800" smtClean="0">
              <a:solidFill>
                <a:srgbClr val="998F86"/>
              </a:solidFill>
              <a:latin typeface="Century Gothic" pitchFamily="34" charset="0"/>
            </a:endParaRPr>
          </a:p>
        </p:txBody>
      </p:sp>
      <p:pic>
        <p:nvPicPr>
          <p:cNvPr id="10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6715F6-F354-429C-82CB-8AC0C123A498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  <p:custDataLst>
              <p:tags r:id="rId6"/>
            </p:custDataLst>
          </p:nvPr>
        </p:nvSpPr>
        <p:spPr/>
        <p:txBody>
          <a:bodyPr/>
          <a:lstStyle>
            <a:lvl1pPr algn="l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13480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5410E1-CD35-42F8-902D-C1C28BFEA775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D8BB3B-AEDF-49E1-A6BD-38850E2AD345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0493090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760960-8C16-4B89-B840-E51EC3F8879A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A73EA6-BBA7-4018-B355-665A44F306A3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399375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27197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107BA2-2F43-4A41-AED6-0533FFDF11E8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2D2627-51E6-48C1-A268-B648645A7E2D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870685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82C30E-F212-49F1-AF75-E2840BDD03B5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49857E-91F9-4516-B9CC-CC24D9FA7ED2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958935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C3A07F-F886-47E4-8ABC-3719E7D1034D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40EEDD-3692-4D28-898C-49C7F2028B08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0876516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6F60DF-FBA5-49B0-B295-472F1D44A9A1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CB06FA-ED98-4A4D-8D5A-DEEDCD0E38BC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8698126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CEF24-1132-4320-9001-F874F90FA47B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4607EC-F63D-4882-8C0F-843CC0611862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1859452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5D0E3D-E1A5-4BEF-B87C-765A1BDA59DA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3AB06C-355B-4EA2-A31D-629927C3176A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5364066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8EE963-599D-4FB5-823F-9B31A32A2C83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B555BB-BB92-469B-99C0-E6FD2C8C6770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1953123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52B15C-E307-4CC6-A0EE-28EC445CCE58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FDA88F-33C4-4F8E-AC3C-9D7B459C1FA5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17658086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5AD2E4-3BBC-4219-8C64-0CDB94495BF8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474606-708E-45AC-BAF0-2BFD59B5BB97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40735057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Rectangle 8"/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1" name="Rectangle 13"/>
          <p:cNvSpPr>
            <a:spLocks noChangeArrowheads="1"/>
          </p:cNvSpPr>
          <p:nvPr userDrawn="1"/>
        </p:nvSpPr>
        <p:spPr bwMode="auto">
          <a:xfrm>
            <a:off x="2835275" y="3497263"/>
            <a:ext cx="4016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en-GB" altLang="en-US" sz="1100" b="1" smtClean="0">
                <a:solidFill>
                  <a:srgbClr val="003399"/>
                </a:solidFill>
                <a:latin typeface="Century Gothic" panose="020B0502020202020204" pitchFamily="34" charset="0"/>
              </a:rPr>
              <a:t>Tel: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4779963" y="3497263"/>
            <a:ext cx="4032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en-GB" altLang="en-US" sz="1100" b="1" smtClean="0">
                <a:solidFill>
                  <a:srgbClr val="003399"/>
                </a:solidFill>
                <a:latin typeface="Century Gothic" panose="020B0502020202020204" pitchFamily="34" charset="0"/>
              </a:rPr>
              <a:t>Fax:</a:t>
            </a:r>
          </a:p>
        </p:txBody>
      </p: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2835275" y="4043363"/>
            <a:ext cx="3733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en-GB" altLang="en-US" sz="1100" b="1" smtClean="0">
                <a:solidFill>
                  <a:srgbClr val="003399"/>
                </a:solidFill>
                <a:latin typeface="Century Gothic" panose="020B0502020202020204" pitchFamily="34" charset="0"/>
              </a:rPr>
              <a:t>www.elsenburg.com</a:t>
            </a: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295275" y="565150"/>
            <a:ext cx="2405063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smtClean="0">
                <a:solidFill>
                  <a:srgbClr val="FFFFFF"/>
                </a:solidFill>
                <a:latin typeface="Century Gothic" panose="020B0502020202020204" pitchFamily="34" charset="0"/>
              </a:rPr>
              <a:t>Contact Us</a:t>
            </a:r>
            <a:endParaRPr lang="en-GB" altLang="en-US" sz="2400" smtClean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925" y="1927225"/>
            <a:ext cx="2406650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4159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8585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smtClean="0">
                <a:solidFill>
                  <a:srgbClr val="998F86"/>
                </a:solidFill>
                <a:latin typeface="Century Gothic" pitchFamily="34" charset="0"/>
              </a:rPr>
              <a:t>© Western Cape Government 2012  |</a:t>
            </a:r>
            <a:endParaRPr lang="en-GB" altLang="en-US" sz="800" smtClean="0">
              <a:solidFill>
                <a:srgbClr val="998F86"/>
              </a:solidFill>
              <a:latin typeface="Century Gothic" pitchFamily="34" charset="0"/>
            </a:endParaRPr>
          </a:p>
        </p:txBody>
      </p:sp>
      <p:pic>
        <p:nvPicPr>
          <p:cNvPr id="10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6715F6-F354-429C-82CB-8AC0C123A498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  <p:custDataLst>
              <p:tags r:id="rId6"/>
            </p:custDataLst>
          </p:nvPr>
        </p:nvSpPr>
        <p:spPr/>
        <p:txBody>
          <a:bodyPr/>
          <a:lstStyle>
            <a:lvl1pPr algn="l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32106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82908"/>
            <a:ext cx="3656932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4363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1655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617216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9919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20214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621122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27077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505635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42151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329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6263588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421375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72311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43740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5019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523190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17616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04972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9908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3495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57099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94921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21052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772813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35223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62316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82908"/>
            <a:ext cx="3656932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93797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750076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03461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48310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29696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8319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5348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33507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664236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677988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05523942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4184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110970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15077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957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88271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8080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194902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059546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062458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726685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187017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69113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966348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36344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95314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82908"/>
            <a:ext cx="3656932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1132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vmlDrawing" Target="../drawings/vmlDrawing4.v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heme" Target="../theme/theme4.xml"/><Relationship Id="rId33" Type="http://schemas.openxmlformats.org/officeDocument/2006/relationships/oleObject" Target="../embeddings/oleObject4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tags" Target="../tags/tag6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tags" Target="../tags/tag6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tags" Target="../tags/tag59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tags" Target="../tags/tag62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tags" Target="../tags/tag58.xml"/><Relationship Id="rId30" Type="http://schemas.openxmlformats.org/officeDocument/2006/relationships/tags" Target="../tags/tag61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5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vmlDrawing" Target="../drawings/vmlDrawing5.v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theme" Target="../theme/theme5.xml"/><Relationship Id="rId33" Type="http://schemas.openxmlformats.org/officeDocument/2006/relationships/oleObject" Target="../embeddings/oleObject5.bin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tags" Target="../tags/tag10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tags" Target="../tags/tag109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tags" Target="../tags/tag105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tags" Target="../tags/tag108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tags" Target="../tags/tag104.xml"/><Relationship Id="rId30" Type="http://schemas.openxmlformats.org/officeDocument/2006/relationships/tags" Target="../tags/tag107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vmlDrawing" Target="../drawings/vmlDrawing6.v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theme" Target="../theme/theme6.xml"/><Relationship Id="rId33" Type="http://schemas.openxmlformats.org/officeDocument/2006/relationships/oleObject" Target="../embeddings/oleObject6.bin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tags" Target="../tags/tag152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32" Type="http://schemas.openxmlformats.org/officeDocument/2006/relationships/tags" Target="../tags/tag155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tags" Target="../tags/tag151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31" Type="http://schemas.openxmlformats.org/officeDocument/2006/relationships/tags" Target="../tags/tag154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tags" Target="../tags/tag150.xml"/><Relationship Id="rId30" Type="http://schemas.openxmlformats.org/officeDocument/2006/relationships/tags" Target="../tags/tag153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10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26" Type="http://schemas.openxmlformats.org/officeDocument/2006/relationships/vmlDrawing" Target="../drawings/vmlDrawing7.vml"/><Relationship Id="rId3" Type="http://schemas.openxmlformats.org/officeDocument/2006/relationships/slideLayout" Target="../slideLayouts/slideLayout125.xml"/><Relationship Id="rId21" Type="http://schemas.openxmlformats.org/officeDocument/2006/relationships/slideLayout" Target="../slideLayouts/slideLayout143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theme" Target="../theme/theme7.xml"/><Relationship Id="rId33" Type="http://schemas.openxmlformats.org/officeDocument/2006/relationships/oleObject" Target="../embeddings/oleObject7.bin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0" Type="http://schemas.openxmlformats.org/officeDocument/2006/relationships/slideLayout" Target="../slideLayouts/slideLayout142.xml"/><Relationship Id="rId29" Type="http://schemas.openxmlformats.org/officeDocument/2006/relationships/tags" Target="../tags/tag198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46.xml"/><Relationship Id="rId32" Type="http://schemas.openxmlformats.org/officeDocument/2006/relationships/tags" Target="../tags/tag201.xml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tags" Target="../tags/tag197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41.xml"/><Relationship Id="rId31" Type="http://schemas.openxmlformats.org/officeDocument/2006/relationships/tags" Target="../tags/tag200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Relationship Id="rId27" Type="http://schemas.openxmlformats.org/officeDocument/2006/relationships/tags" Target="../tags/tag196.xml"/><Relationship Id="rId30" Type="http://schemas.openxmlformats.org/officeDocument/2006/relationships/tags" Target="../tags/tag199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1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2325" y="6309320"/>
            <a:ext cx="1040246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ZA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ZA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ACC63EE-4302-4515-ABA6-576E66C672D2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89BB56-2F0D-4092-935B-EEB2229A4A47}" type="slidenum">
              <a:rPr lang="en-ZA" altLang="en-US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4396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ZA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ZA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ACC63EE-4302-4515-ABA6-576E66C672D2}" type="datetime1">
              <a:rPr lang="en-ZA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2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ZA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89BB56-2F0D-4092-935B-EEB2229A4A47}" type="slidenum">
              <a:rPr lang="en-ZA" altLang="en-US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8136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4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2325" y="6309320"/>
            <a:ext cx="1040246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591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8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2325" y="6309320"/>
            <a:ext cx="1040246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516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2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2325" y="6309320"/>
            <a:ext cx="1040246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319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  <p:sldLayoutId id="2147483791" r:id="rId13"/>
    <p:sldLayoutId id="2147483792" r:id="rId14"/>
    <p:sldLayoutId id="2147483793" r:id="rId15"/>
    <p:sldLayoutId id="2147483794" r:id="rId16"/>
    <p:sldLayoutId id="2147483795" r:id="rId17"/>
    <p:sldLayoutId id="2147483796" r:id="rId18"/>
    <p:sldLayoutId id="2147483797" r:id="rId19"/>
    <p:sldLayoutId id="2147483798" r:id="rId20"/>
    <p:sldLayoutId id="2147483799" r:id="rId21"/>
    <p:sldLayoutId id="2147483800" r:id="rId22"/>
    <p:sldLayoutId id="2147483801" r:id="rId23"/>
    <p:sldLayoutId id="214748380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6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2018 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2325" y="6309320"/>
            <a:ext cx="1040246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757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5" r:id="rId12"/>
    <p:sldLayoutId id="2147483816" r:id="rId13"/>
    <p:sldLayoutId id="2147483817" r:id="rId14"/>
    <p:sldLayoutId id="2147483818" r:id="rId15"/>
    <p:sldLayoutId id="2147483819" r:id="rId16"/>
    <p:sldLayoutId id="2147483820" r:id="rId17"/>
    <p:sldLayoutId id="2147483821" r:id="rId18"/>
    <p:sldLayoutId id="2147483822" r:id="rId19"/>
    <p:sldLayoutId id="2147483823" r:id="rId20"/>
    <p:sldLayoutId id="2147483824" r:id="rId21"/>
    <p:sldLayoutId id="2147483825" r:id="rId22"/>
    <p:sldLayoutId id="2147483826" r:id="rId23"/>
    <p:sldLayoutId id="214748382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3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chart" Target="../charts/char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3.xml"/><Relationship Id="rId4" Type="http://schemas.openxmlformats.org/officeDocument/2006/relationships/chart" Target="../charts/char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3.xml"/><Relationship Id="rId4" Type="http://schemas.openxmlformats.org/officeDocument/2006/relationships/chart" Target="../charts/char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3.xml"/><Relationship Id="rId4" Type="http://schemas.openxmlformats.org/officeDocument/2006/relationships/chart" Target="../charts/char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3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3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4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3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6.jpeg"/><Relationship Id="rId5" Type="http://schemas.openxmlformats.org/officeDocument/2006/relationships/image" Target="../media/image3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8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3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544" y="4653136"/>
            <a:ext cx="8208912" cy="744908"/>
          </a:xfrm>
        </p:spPr>
        <p:txBody>
          <a:bodyPr>
            <a:normAutofit/>
          </a:bodyPr>
          <a:lstStyle/>
          <a:p>
            <a:r>
              <a:rPr lang="en-ZA" dirty="0" smtClean="0"/>
              <a:t>Plant Scienc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11760" y="5398044"/>
            <a:ext cx="3528044" cy="365125"/>
          </a:xfrm>
        </p:spPr>
        <p:txBody>
          <a:bodyPr>
            <a:noAutofit/>
          </a:bodyPr>
          <a:lstStyle/>
          <a:p>
            <a:r>
              <a:rPr lang="en-ZA" dirty="0" smtClean="0"/>
              <a:t> </a:t>
            </a:r>
            <a:r>
              <a:rPr lang="en-ZA" dirty="0"/>
              <a:t>CANOLA </a:t>
            </a:r>
            <a:r>
              <a:rPr lang="en-ZA" dirty="0" smtClean="0"/>
              <a:t>INLIGTINGSDAG: </a:t>
            </a:r>
            <a:r>
              <a:rPr lang="en-ZA" dirty="0" err="1" smtClean="0"/>
              <a:t>Hopefield</a:t>
            </a:r>
            <a:r>
              <a:rPr lang="en-ZA" dirty="0" smtClean="0"/>
              <a:t> 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Piet Lombard</a:t>
            </a:r>
            <a:endParaRPr lang="en-GB" dirty="0"/>
          </a:p>
        </p:txBody>
      </p:sp>
      <p:sp>
        <p:nvSpPr>
          <p:cNvPr id="10" name="Date Placeholder 12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</p:spPr>
        <p:txBody>
          <a:bodyPr/>
          <a:lstStyle/>
          <a:p>
            <a:r>
              <a:rPr lang="en-ZA" dirty="0" smtClean="0"/>
              <a:t>28 Mei 2021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54" y="3483242"/>
            <a:ext cx="3267282" cy="3471998"/>
          </a:xfrm>
          <a:prstGeom prst="rect">
            <a:avLst/>
          </a:prstGeom>
          <a:effectLst>
            <a:outerShdw blurRad="50800" dist="50800" algn="ctr" rotWithShape="0">
              <a:srgbClr val="FFFF00">
                <a:alpha val="43000"/>
              </a:srgbClr>
            </a:outerShdw>
          </a:effectLst>
          <a:scene3d>
            <a:camera prst="isometricOffAxis2Right">
              <a:rot lat="1080000" lon="19800000" rev="0"/>
            </a:camera>
            <a:lightRig rig="threePt" dir="t"/>
          </a:scene3d>
        </p:spPr>
      </p:pic>
      <p:sp>
        <p:nvSpPr>
          <p:cNvPr id="2" name="Rectangle 1"/>
          <p:cNvSpPr/>
          <p:nvPr/>
        </p:nvSpPr>
        <p:spPr>
          <a:xfrm>
            <a:off x="611560" y="2581889"/>
            <a:ext cx="866445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f-ZA" sz="2400" dirty="0" err="1" smtClean="0">
                <a:solidFill>
                  <a:schemeClr val="bg1"/>
                </a:solidFill>
                <a:latin typeface="+mj-lt"/>
              </a:rPr>
              <a:t>Kultivarevaluasie</a:t>
            </a:r>
            <a:r>
              <a:rPr lang="af-ZA" sz="2400" dirty="0" smtClean="0">
                <a:solidFill>
                  <a:schemeClr val="bg1"/>
                </a:solidFill>
                <a:latin typeface="+mj-lt"/>
              </a:rPr>
              <a:t>: </a:t>
            </a:r>
            <a:r>
              <a:rPr lang="af-ZA" sz="2400" dirty="0">
                <a:solidFill>
                  <a:schemeClr val="bg1"/>
                </a:solidFill>
                <a:latin typeface="+mj-lt"/>
              </a:rPr>
              <a:t>Riglyne </a:t>
            </a:r>
            <a:r>
              <a:rPr lang="af-ZA" sz="2400" dirty="0" err="1">
                <a:solidFill>
                  <a:schemeClr val="bg1"/>
                </a:solidFill>
                <a:latin typeface="+mj-lt"/>
              </a:rPr>
              <a:t>tov</a:t>
            </a:r>
            <a:r>
              <a:rPr lang="af-ZA" sz="2400" dirty="0">
                <a:solidFill>
                  <a:schemeClr val="bg1"/>
                </a:solidFill>
                <a:latin typeface="+mj-lt"/>
              </a:rPr>
              <a:t> </a:t>
            </a:r>
            <a:r>
              <a:rPr lang="af-ZA" sz="2400" dirty="0" smtClean="0">
                <a:solidFill>
                  <a:schemeClr val="bg1"/>
                </a:solidFill>
                <a:latin typeface="+mj-lt"/>
              </a:rPr>
              <a:t>Kultivarkeuse</a:t>
            </a:r>
          </a:p>
          <a:p>
            <a:r>
              <a:rPr lang="af-ZA" sz="2000" dirty="0" smtClean="0">
                <a:solidFill>
                  <a:schemeClr val="bg1"/>
                </a:solidFill>
              </a:rPr>
              <a:t>P Lombard, L Smorenburg &amp; J Strauss</a:t>
            </a:r>
            <a:endParaRPr lang="en-ZA" sz="20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507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038" y="398463"/>
            <a:ext cx="1665287" cy="519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Aanpasbaarheid:</a:t>
            </a: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0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23528" y="1490792"/>
            <a:ext cx="8568952" cy="5339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 Aanpasbaarheid van die kultivar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by die omgewing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is noodsaak.</a:t>
            </a:r>
          </a:p>
          <a:p>
            <a:pPr marL="0" lvl="1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defRPr/>
            </a:pPr>
            <a:endParaRPr lang="af-ZA" altLang="en-US" sz="2000" dirty="0" smtClean="0">
              <a:solidFill>
                <a:srgbClr val="000000"/>
              </a:solidFill>
              <a:latin typeface="Century Gothic" pitchFamily="34" charset="0"/>
              <a:cs typeface="Arial" panose="020B060402020202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 Kultivars met ŉ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langer groeiseisoen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moet net oorweeg word waar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vroeg gesaai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kan word en/of en in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natter koue omgewing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.</a:t>
            </a: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endParaRPr lang="af-ZA" altLang="en-US" sz="2000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Ons oorweeg die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T kultivars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waar ons met uitdagings sit </a:t>
            </a:r>
            <a:r>
              <a:rPr lang="af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.o.v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nkruide met weerstand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endParaRPr lang="af-ZA" altLang="en-US" sz="2000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ie Swartland is bekend vir sy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roë somers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n gevolglik is die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ordrag van </a:t>
            </a:r>
            <a:r>
              <a:rPr lang="af-ZA" altLang="en-US" sz="2000" b="1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’s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 die grond vanaf die vorige seisoen soms ’n probleem.  </a:t>
            </a:r>
            <a:endParaRPr lang="af-ZA" altLang="en-US" sz="2000" dirty="0" smtClean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endParaRPr lang="af-ZA" altLang="en-US" sz="2000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L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ultivars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het nie SU-weerstand nie maar hanteer die oordrag in die grond beter (dit verlaag net die risiko).  </a:t>
            </a: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endParaRPr lang="en-ZA" altLang="en-US" sz="2000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lvl="1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defRPr/>
            </a:pPr>
            <a:endParaRPr lang="en-ZA" altLang="en-US" sz="1600" dirty="0">
              <a:solidFill>
                <a:srgbClr val="000000"/>
              </a:solidFill>
              <a:latin typeface="Century Gothic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856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Kom ons kyk terug na 2020 en vroeër:</a:t>
            </a:r>
            <a:endParaRPr lang="en-ZA" altLang="en-US" sz="2800" b="1" dirty="0" smtClean="0">
              <a:solidFill>
                <a:srgbClr val="003399"/>
              </a:solidFill>
              <a:latin typeface="Century Gothic" panose="020B0502020202020204" pitchFamily="34" charset="0"/>
              <a:ea typeface="Adobe Arabic"/>
              <a:cs typeface="Adobe Arabic"/>
            </a:endParaRP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1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484313"/>
            <a:ext cx="7956376" cy="5304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156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Kan ek die seisoen se potensiaal benut?</a:t>
            </a:r>
            <a:b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</a:br>
            <a: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2020</a:t>
            </a:r>
            <a:endParaRPr lang="en-ZA" altLang="en-US" sz="2800" b="1" dirty="0" smtClean="0">
              <a:solidFill>
                <a:srgbClr val="003399"/>
              </a:solidFill>
              <a:latin typeface="Century Gothic" panose="020B0502020202020204" pitchFamily="34" charset="0"/>
              <a:ea typeface="Adobe Arabic"/>
              <a:cs typeface="Adobe Arabic"/>
            </a:endParaRP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2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4115069576"/>
              </p:ext>
            </p:extLst>
          </p:nvPr>
        </p:nvGraphicFramePr>
        <p:xfrm>
          <a:off x="0" y="1417638"/>
          <a:ext cx="9144000" cy="5440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520267" y="5503019"/>
            <a:ext cx="121379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25 Mei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6" name="Up Arrow 5"/>
          <p:cNvSpPr/>
          <p:nvPr/>
        </p:nvSpPr>
        <p:spPr>
          <a:xfrm>
            <a:off x="3772268" y="6055335"/>
            <a:ext cx="216024" cy="14405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13" name="TextBox 12"/>
          <p:cNvSpPr txBox="1"/>
          <p:nvPr/>
        </p:nvSpPr>
        <p:spPr>
          <a:xfrm>
            <a:off x="5436096" y="4519863"/>
            <a:ext cx="121379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2 Aug.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1791" y="4221088"/>
            <a:ext cx="623445" cy="93610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3061688"/>
            <a:ext cx="1187952" cy="791968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8239944" y="3879262"/>
            <a:ext cx="89371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30 Okt.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10" name="Left-Right Arrow 9"/>
          <p:cNvSpPr/>
          <p:nvPr/>
        </p:nvSpPr>
        <p:spPr>
          <a:xfrm>
            <a:off x="6037512" y="1844825"/>
            <a:ext cx="1500446" cy="252000"/>
          </a:xfrm>
          <a:prstGeom prst="leftRightArrow">
            <a:avLst/>
          </a:prstGeom>
          <a:solidFill>
            <a:srgbClr val="FFFF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17" name="Left-Right Arrow 16"/>
          <p:cNvSpPr/>
          <p:nvPr/>
        </p:nvSpPr>
        <p:spPr>
          <a:xfrm>
            <a:off x="3880280" y="1855202"/>
            <a:ext cx="2185592" cy="252000"/>
          </a:xfrm>
          <a:prstGeom prst="leftRightArrow">
            <a:avLst/>
          </a:prstGeom>
          <a:solidFill>
            <a:srgbClr val="00B05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18" name="Left-Right Arrow 17"/>
          <p:cNvSpPr/>
          <p:nvPr/>
        </p:nvSpPr>
        <p:spPr>
          <a:xfrm>
            <a:off x="7538286" y="1853170"/>
            <a:ext cx="1282186" cy="252000"/>
          </a:xfrm>
          <a:prstGeom prst="leftRightArrow">
            <a:avLst/>
          </a:prstGeom>
          <a:solidFill>
            <a:schemeClr val="accent6">
              <a:lumMod val="75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19" name="TextBox 18"/>
          <p:cNvSpPr txBox="1"/>
          <p:nvPr/>
        </p:nvSpPr>
        <p:spPr>
          <a:xfrm>
            <a:off x="7815205" y="1489009"/>
            <a:ext cx="121379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40 dae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267291" y="1516649"/>
            <a:ext cx="121379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45 dae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438328" y="1516649"/>
            <a:ext cx="121379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70 dae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306" y="5246364"/>
            <a:ext cx="960000" cy="720000"/>
          </a:xfrm>
          <a:prstGeom prst="rect">
            <a:avLst/>
          </a:prstGeom>
        </p:spPr>
      </p:pic>
      <p:sp>
        <p:nvSpPr>
          <p:cNvPr id="22" name="Up Arrow 21"/>
          <p:cNvSpPr/>
          <p:nvPr/>
        </p:nvSpPr>
        <p:spPr>
          <a:xfrm>
            <a:off x="3967479" y="6045562"/>
            <a:ext cx="216024" cy="144056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3" name="Up Arrow 22"/>
          <p:cNvSpPr/>
          <p:nvPr/>
        </p:nvSpPr>
        <p:spPr>
          <a:xfrm>
            <a:off x="6177536" y="6045562"/>
            <a:ext cx="216024" cy="144056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4" name="Up Arrow 23"/>
          <p:cNvSpPr/>
          <p:nvPr/>
        </p:nvSpPr>
        <p:spPr>
          <a:xfrm>
            <a:off x="7700126" y="6054104"/>
            <a:ext cx="216024" cy="144056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 dirty="0"/>
          </a:p>
        </p:txBody>
      </p:sp>
      <p:sp>
        <p:nvSpPr>
          <p:cNvPr id="25" name="Up Arrow 24"/>
          <p:cNvSpPr/>
          <p:nvPr/>
        </p:nvSpPr>
        <p:spPr>
          <a:xfrm>
            <a:off x="5924999" y="6061007"/>
            <a:ext cx="216024" cy="14405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6" name="Up Arrow 25"/>
          <p:cNvSpPr/>
          <p:nvPr/>
        </p:nvSpPr>
        <p:spPr>
          <a:xfrm>
            <a:off x="7432215" y="6055335"/>
            <a:ext cx="216024" cy="14405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7" name="Up Arrow 26"/>
          <p:cNvSpPr/>
          <p:nvPr/>
        </p:nvSpPr>
        <p:spPr>
          <a:xfrm>
            <a:off x="8698690" y="6045562"/>
            <a:ext cx="216024" cy="14405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8" name="Up Arrow 27"/>
          <p:cNvSpPr/>
          <p:nvPr/>
        </p:nvSpPr>
        <p:spPr>
          <a:xfrm>
            <a:off x="8887686" y="6054104"/>
            <a:ext cx="216024" cy="144056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9" name="TextBox 28"/>
          <p:cNvSpPr txBox="1"/>
          <p:nvPr/>
        </p:nvSpPr>
        <p:spPr>
          <a:xfrm>
            <a:off x="7863578" y="2200155"/>
            <a:ext cx="12137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35 dae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452303" y="2202747"/>
            <a:ext cx="12137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45 dae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654352" y="2204017"/>
            <a:ext cx="12137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70 dae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32" name="Left-Right Arrow 31"/>
          <p:cNvSpPr/>
          <p:nvPr/>
        </p:nvSpPr>
        <p:spPr>
          <a:xfrm>
            <a:off x="4110583" y="2080325"/>
            <a:ext cx="2185592" cy="252000"/>
          </a:xfrm>
          <a:prstGeom prst="leftRightArrow">
            <a:avLst/>
          </a:prstGeom>
          <a:solidFill>
            <a:srgbClr val="00B05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33" name="Left-Right Arrow 32"/>
          <p:cNvSpPr/>
          <p:nvPr/>
        </p:nvSpPr>
        <p:spPr>
          <a:xfrm>
            <a:off x="6296503" y="2081081"/>
            <a:ext cx="1500446" cy="252000"/>
          </a:xfrm>
          <a:prstGeom prst="leftRightArrow">
            <a:avLst/>
          </a:prstGeom>
          <a:solidFill>
            <a:srgbClr val="FFFF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34" name="Left-Right Arrow 33"/>
          <p:cNvSpPr/>
          <p:nvPr/>
        </p:nvSpPr>
        <p:spPr>
          <a:xfrm>
            <a:off x="7795073" y="2088574"/>
            <a:ext cx="1149502" cy="252000"/>
          </a:xfrm>
          <a:prstGeom prst="leftRightArrow">
            <a:avLst/>
          </a:prstGeom>
          <a:solidFill>
            <a:schemeClr val="accent6">
              <a:lumMod val="75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1955133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3" grpId="0" animBg="1"/>
      <p:bldP spid="15" grpId="0" animBg="1"/>
      <p:bldP spid="10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/>
      <p:bldP spid="30" grpId="0"/>
      <p:bldP spid="31" grpId="0"/>
      <p:bldP spid="32" grpId="0" animBg="1"/>
      <p:bldP spid="33" grpId="0" animBg="1"/>
      <p:bldP spid="3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25950786"/>
              </p:ext>
            </p:extLst>
          </p:nvPr>
        </p:nvGraphicFramePr>
        <p:xfrm>
          <a:off x="0" y="1417638"/>
          <a:ext cx="9169298" cy="544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7890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Kan ek die seisoen se potensiaal benut?</a:t>
            </a:r>
            <a:b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</a:br>
            <a: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2019</a:t>
            </a:r>
            <a:endParaRPr lang="en-ZA" altLang="en-US" sz="2800" b="1" dirty="0" smtClean="0">
              <a:solidFill>
                <a:srgbClr val="003399"/>
              </a:solidFill>
              <a:latin typeface="Century Gothic" panose="020B0502020202020204" pitchFamily="34" charset="0"/>
              <a:ea typeface="Adobe Arabic"/>
              <a:cs typeface="Adobe Arabic"/>
            </a:endParaRP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3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4778" y="5489595"/>
            <a:ext cx="121379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19 Mei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6" name="Up Arrow 5"/>
          <p:cNvSpPr/>
          <p:nvPr/>
        </p:nvSpPr>
        <p:spPr>
          <a:xfrm>
            <a:off x="3491880" y="6036919"/>
            <a:ext cx="216024" cy="14405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13" name="TextBox 12"/>
          <p:cNvSpPr txBox="1"/>
          <p:nvPr/>
        </p:nvSpPr>
        <p:spPr>
          <a:xfrm>
            <a:off x="5193801" y="4396752"/>
            <a:ext cx="1213792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8 Aug.</a:t>
            </a:r>
          </a:p>
          <a:p>
            <a:r>
              <a:rPr lang="af-ZA" sz="1600" dirty="0" smtClean="0">
                <a:latin typeface="Century Gothic" panose="020B0502020202020204" pitchFamily="34" charset="0"/>
              </a:rPr>
              <a:t>+6 dae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2339" y="4221087"/>
            <a:ext cx="623445" cy="93610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921" y="3136289"/>
            <a:ext cx="1187952" cy="791968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821097" y="3920332"/>
            <a:ext cx="121379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15 Okt.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18" name="Left-Right Arrow 17"/>
          <p:cNvSpPr/>
          <p:nvPr/>
        </p:nvSpPr>
        <p:spPr>
          <a:xfrm>
            <a:off x="7380312" y="1628800"/>
            <a:ext cx="1026165" cy="252000"/>
          </a:xfrm>
          <a:prstGeom prst="leftRightArrow">
            <a:avLst/>
          </a:prstGeom>
          <a:solidFill>
            <a:schemeClr val="accent6">
              <a:lumMod val="75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19" name="TextBox 18"/>
          <p:cNvSpPr txBox="1"/>
          <p:nvPr/>
        </p:nvSpPr>
        <p:spPr>
          <a:xfrm>
            <a:off x="7473660" y="1340768"/>
            <a:ext cx="15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30 dae (-10)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098503" y="1340768"/>
            <a:ext cx="14503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32 dae (-13)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117189" y="1340768"/>
            <a:ext cx="19560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85 dae (+15 dae)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2905" y="5201032"/>
            <a:ext cx="960000" cy="720000"/>
          </a:xfrm>
          <a:prstGeom prst="rect">
            <a:avLst/>
          </a:prstGeom>
        </p:spPr>
      </p:pic>
      <p:sp>
        <p:nvSpPr>
          <p:cNvPr id="10" name="Left-Right Arrow 9"/>
          <p:cNvSpPr/>
          <p:nvPr/>
        </p:nvSpPr>
        <p:spPr>
          <a:xfrm>
            <a:off x="6336808" y="1628800"/>
            <a:ext cx="1032077" cy="252000"/>
          </a:xfrm>
          <a:prstGeom prst="leftRightArrow">
            <a:avLst/>
          </a:prstGeom>
          <a:solidFill>
            <a:srgbClr val="FFFF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17" name="Left-Right Arrow 16"/>
          <p:cNvSpPr/>
          <p:nvPr/>
        </p:nvSpPr>
        <p:spPr>
          <a:xfrm>
            <a:off x="3600504" y="1628800"/>
            <a:ext cx="2736304" cy="252000"/>
          </a:xfrm>
          <a:prstGeom prst="leftRightArrow">
            <a:avLst/>
          </a:prstGeom>
          <a:solidFill>
            <a:srgbClr val="00B05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3" name="Up Arrow 22"/>
          <p:cNvSpPr/>
          <p:nvPr/>
        </p:nvSpPr>
        <p:spPr>
          <a:xfrm>
            <a:off x="8281371" y="6024379"/>
            <a:ext cx="216024" cy="14405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4" name="Up Arrow 23"/>
          <p:cNvSpPr/>
          <p:nvPr/>
        </p:nvSpPr>
        <p:spPr>
          <a:xfrm>
            <a:off x="6222577" y="6036919"/>
            <a:ext cx="216024" cy="14405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5" name="Up Arrow 24"/>
          <p:cNvSpPr/>
          <p:nvPr/>
        </p:nvSpPr>
        <p:spPr>
          <a:xfrm>
            <a:off x="3846881" y="6036919"/>
            <a:ext cx="216024" cy="144056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6" name="Up Arrow 25"/>
          <p:cNvSpPr/>
          <p:nvPr/>
        </p:nvSpPr>
        <p:spPr>
          <a:xfrm>
            <a:off x="7493056" y="6045653"/>
            <a:ext cx="216024" cy="144056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7" name="Up Arrow 26"/>
          <p:cNvSpPr/>
          <p:nvPr/>
        </p:nvSpPr>
        <p:spPr>
          <a:xfrm>
            <a:off x="6490546" y="6036300"/>
            <a:ext cx="216024" cy="144056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8" name="Up Arrow 27"/>
          <p:cNvSpPr/>
          <p:nvPr/>
        </p:nvSpPr>
        <p:spPr>
          <a:xfrm>
            <a:off x="7272384" y="6043157"/>
            <a:ext cx="216024" cy="14405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9" name="Up Arrow 28"/>
          <p:cNvSpPr/>
          <p:nvPr/>
        </p:nvSpPr>
        <p:spPr>
          <a:xfrm>
            <a:off x="8420348" y="6012954"/>
            <a:ext cx="216024" cy="144056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33" name="Left-Right Arrow 32"/>
          <p:cNvSpPr/>
          <p:nvPr/>
        </p:nvSpPr>
        <p:spPr>
          <a:xfrm>
            <a:off x="3954808" y="1916832"/>
            <a:ext cx="2636667" cy="252000"/>
          </a:xfrm>
          <a:prstGeom prst="leftRightArrow">
            <a:avLst/>
          </a:prstGeom>
          <a:solidFill>
            <a:srgbClr val="00B05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34" name="Left-Right Arrow 33"/>
          <p:cNvSpPr/>
          <p:nvPr/>
        </p:nvSpPr>
        <p:spPr>
          <a:xfrm>
            <a:off x="6598558" y="1916832"/>
            <a:ext cx="949228" cy="252000"/>
          </a:xfrm>
          <a:prstGeom prst="leftRightArrow">
            <a:avLst/>
          </a:prstGeom>
          <a:solidFill>
            <a:srgbClr val="FFFF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35" name="Left-Right Arrow 34"/>
          <p:cNvSpPr/>
          <p:nvPr/>
        </p:nvSpPr>
        <p:spPr>
          <a:xfrm>
            <a:off x="7548806" y="1916832"/>
            <a:ext cx="987998" cy="252000"/>
          </a:xfrm>
          <a:prstGeom prst="leftRightArrow">
            <a:avLst/>
          </a:prstGeom>
          <a:solidFill>
            <a:schemeClr val="accent6">
              <a:lumMod val="75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36" name="TextBox 35"/>
          <p:cNvSpPr txBox="1"/>
          <p:nvPr/>
        </p:nvSpPr>
        <p:spPr>
          <a:xfrm>
            <a:off x="7601068" y="2060848"/>
            <a:ext cx="10857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29 dae 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625783" y="2060848"/>
            <a:ext cx="14566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30 dae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16015" y="2060848"/>
            <a:ext cx="14103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82 dae</a:t>
            </a:r>
            <a:endParaRPr lang="af-ZA" sz="16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4090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3" grpId="0" animBg="1"/>
      <p:bldP spid="15" grpId="0" animBg="1"/>
      <p:bldP spid="18" grpId="0" animBg="1"/>
      <p:bldP spid="19" grpId="0"/>
      <p:bldP spid="20" grpId="0"/>
      <p:bldP spid="21" grpId="0"/>
      <p:bldP spid="10" grpId="0" animBg="1"/>
      <p:bldP spid="17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3" grpId="0" animBg="1"/>
      <p:bldP spid="34" grpId="0" animBg="1"/>
      <p:bldP spid="35" grpId="0" animBg="1"/>
      <p:bldP spid="36" grpId="0"/>
      <p:bldP spid="37" grpId="0"/>
      <p:bldP spid="3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9375822"/>
              </p:ext>
            </p:extLst>
          </p:nvPr>
        </p:nvGraphicFramePr>
        <p:xfrm>
          <a:off x="0" y="1417638"/>
          <a:ext cx="9144000" cy="544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7890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Kan ek die seisoen se potensiaal benut?</a:t>
            </a:r>
            <a:b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</a:br>
            <a: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2018</a:t>
            </a:r>
            <a:endParaRPr lang="en-ZA" altLang="en-US" sz="2800" b="1" dirty="0" smtClean="0">
              <a:solidFill>
                <a:srgbClr val="003399"/>
              </a:solidFill>
              <a:latin typeface="Century Gothic" panose="020B0502020202020204" pitchFamily="34" charset="0"/>
              <a:ea typeface="Adobe Arabic"/>
              <a:cs typeface="Adobe Arabic"/>
            </a:endParaRP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4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063195" y="5543839"/>
            <a:ext cx="121379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9 Mei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6" name="Up Arrow 5"/>
          <p:cNvSpPr/>
          <p:nvPr/>
        </p:nvSpPr>
        <p:spPr>
          <a:xfrm>
            <a:off x="3141196" y="6044670"/>
            <a:ext cx="216024" cy="14405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13" name="TextBox 12"/>
          <p:cNvSpPr txBox="1"/>
          <p:nvPr/>
        </p:nvSpPr>
        <p:spPr>
          <a:xfrm>
            <a:off x="4606131" y="4350586"/>
            <a:ext cx="121379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25 Jul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8" y="3874629"/>
            <a:ext cx="623445" cy="93610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921" y="3136289"/>
            <a:ext cx="1187952" cy="791968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821097" y="3920332"/>
            <a:ext cx="121379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15 Okt.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18" name="Left-Right Arrow 17"/>
          <p:cNvSpPr/>
          <p:nvPr/>
        </p:nvSpPr>
        <p:spPr>
          <a:xfrm>
            <a:off x="7275718" y="1833773"/>
            <a:ext cx="1224000" cy="252000"/>
          </a:xfrm>
          <a:prstGeom prst="leftRightArrow">
            <a:avLst/>
          </a:prstGeom>
          <a:solidFill>
            <a:schemeClr val="accent6">
              <a:lumMod val="75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19" name="TextBox 18"/>
          <p:cNvSpPr txBox="1"/>
          <p:nvPr/>
        </p:nvSpPr>
        <p:spPr>
          <a:xfrm>
            <a:off x="7378922" y="1495291"/>
            <a:ext cx="159519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37 dae (-5)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652120" y="1492965"/>
            <a:ext cx="171717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45 dae (=2020)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696104" y="1488809"/>
            <a:ext cx="195601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78 dae (+8 dae)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633" y="5084366"/>
            <a:ext cx="960000" cy="720000"/>
          </a:xfrm>
          <a:prstGeom prst="rect">
            <a:avLst/>
          </a:prstGeom>
        </p:spPr>
      </p:pic>
      <p:sp>
        <p:nvSpPr>
          <p:cNvPr id="10" name="Left-Right Arrow 9"/>
          <p:cNvSpPr/>
          <p:nvPr/>
        </p:nvSpPr>
        <p:spPr>
          <a:xfrm>
            <a:off x="5796134" y="1844824"/>
            <a:ext cx="1476000" cy="252000"/>
          </a:xfrm>
          <a:prstGeom prst="leftRightArrow">
            <a:avLst/>
          </a:prstGeom>
          <a:solidFill>
            <a:srgbClr val="FFFF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17" name="Left-Right Arrow 16"/>
          <p:cNvSpPr/>
          <p:nvPr/>
        </p:nvSpPr>
        <p:spPr>
          <a:xfrm>
            <a:off x="3237037" y="1845905"/>
            <a:ext cx="2556000" cy="252000"/>
          </a:xfrm>
          <a:prstGeom prst="leftRightArrow">
            <a:avLst/>
          </a:prstGeom>
          <a:solidFill>
            <a:srgbClr val="00B05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7" name="Up Arrow 26"/>
          <p:cNvSpPr/>
          <p:nvPr/>
        </p:nvSpPr>
        <p:spPr>
          <a:xfrm>
            <a:off x="3724491" y="6044670"/>
            <a:ext cx="216024" cy="144056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8" name="Up Arrow 27"/>
          <p:cNvSpPr/>
          <p:nvPr/>
        </p:nvSpPr>
        <p:spPr>
          <a:xfrm>
            <a:off x="7147651" y="5472749"/>
            <a:ext cx="252000" cy="71946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29" name="Up Arrow 28"/>
          <p:cNvSpPr/>
          <p:nvPr/>
        </p:nvSpPr>
        <p:spPr>
          <a:xfrm>
            <a:off x="5675810" y="5733256"/>
            <a:ext cx="252000" cy="45547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30" name="Up Arrow 29"/>
          <p:cNvSpPr/>
          <p:nvPr/>
        </p:nvSpPr>
        <p:spPr>
          <a:xfrm>
            <a:off x="7519116" y="5475075"/>
            <a:ext cx="252000" cy="719867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31" name="Up Arrow 30"/>
          <p:cNvSpPr/>
          <p:nvPr/>
        </p:nvSpPr>
        <p:spPr>
          <a:xfrm>
            <a:off x="5891834" y="5733256"/>
            <a:ext cx="252000" cy="455470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32" name="Up Arrow 31"/>
          <p:cNvSpPr/>
          <p:nvPr/>
        </p:nvSpPr>
        <p:spPr>
          <a:xfrm>
            <a:off x="8383252" y="5229200"/>
            <a:ext cx="252000" cy="96787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33" name="Up Arrow 32"/>
          <p:cNvSpPr/>
          <p:nvPr/>
        </p:nvSpPr>
        <p:spPr>
          <a:xfrm>
            <a:off x="8538691" y="5229200"/>
            <a:ext cx="252000" cy="967870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cxnSp>
        <p:nvCxnSpPr>
          <p:cNvPr id="34" name="Straight Connector 33"/>
          <p:cNvCxnSpPr>
            <a:endCxn id="17" idx="3"/>
          </p:cNvCxnSpPr>
          <p:nvPr/>
        </p:nvCxnSpPr>
        <p:spPr>
          <a:xfrm flipV="1">
            <a:off x="3237037" y="1971905"/>
            <a:ext cx="0" cy="40498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Left-Right Arrow 34"/>
          <p:cNvSpPr/>
          <p:nvPr/>
        </p:nvSpPr>
        <p:spPr>
          <a:xfrm>
            <a:off x="3851920" y="2128913"/>
            <a:ext cx="2133002" cy="252000"/>
          </a:xfrm>
          <a:prstGeom prst="leftRightArrow">
            <a:avLst/>
          </a:prstGeom>
          <a:solidFill>
            <a:srgbClr val="00B05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36" name="TextBox 35"/>
          <p:cNvSpPr txBox="1"/>
          <p:nvPr/>
        </p:nvSpPr>
        <p:spPr>
          <a:xfrm>
            <a:off x="4016177" y="2379696"/>
            <a:ext cx="19560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67 dae -3 dae)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868144" y="2383165"/>
            <a:ext cx="17171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47 dae +2 dae)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sp>
        <p:nvSpPr>
          <p:cNvPr id="38" name="Left-Right Arrow 37"/>
          <p:cNvSpPr/>
          <p:nvPr/>
        </p:nvSpPr>
        <p:spPr>
          <a:xfrm>
            <a:off x="5997235" y="2125246"/>
            <a:ext cx="1620000" cy="252000"/>
          </a:xfrm>
          <a:prstGeom prst="leftRightArrow">
            <a:avLst/>
          </a:prstGeom>
          <a:solidFill>
            <a:srgbClr val="FFFF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39" name="Left-Right Arrow 38"/>
          <p:cNvSpPr/>
          <p:nvPr/>
        </p:nvSpPr>
        <p:spPr>
          <a:xfrm>
            <a:off x="7632056" y="2124741"/>
            <a:ext cx="1008000" cy="252000"/>
          </a:xfrm>
          <a:prstGeom prst="leftRightArrow">
            <a:avLst/>
          </a:prstGeom>
          <a:solidFill>
            <a:schemeClr val="accent6">
              <a:lumMod val="75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  <p:sp>
        <p:nvSpPr>
          <p:cNvPr id="40" name="TextBox 39"/>
          <p:cNvSpPr txBox="1"/>
          <p:nvPr/>
        </p:nvSpPr>
        <p:spPr>
          <a:xfrm>
            <a:off x="7617235" y="2376566"/>
            <a:ext cx="15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sz="1600" dirty="0" smtClean="0">
                <a:latin typeface="Century Gothic" panose="020B0502020202020204" pitchFamily="34" charset="0"/>
              </a:rPr>
              <a:t>32 dae</a:t>
            </a:r>
            <a:endParaRPr lang="af-ZA" sz="1600" dirty="0">
              <a:latin typeface="Century Gothic" panose="020B0502020202020204" pitchFamily="34" charset="0"/>
            </a:endParaRPr>
          </a:p>
        </p:txBody>
      </p:sp>
      <p:cxnSp>
        <p:nvCxnSpPr>
          <p:cNvPr id="41" name="Straight Connector 40"/>
          <p:cNvCxnSpPr>
            <a:endCxn id="35" idx="3"/>
          </p:cNvCxnSpPr>
          <p:nvPr/>
        </p:nvCxnSpPr>
        <p:spPr>
          <a:xfrm flipV="1">
            <a:off x="3851920" y="2254913"/>
            <a:ext cx="0" cy="37626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4211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3" grpId="0" animBg="1"/>
      <p:bldP spid="15" grpId="0" animBg="1"/>
      <p:bldP spid="18" grpId="0" animBg="1"/>
      <p:bldP spid="19" grpId="0" animBg="1"/>
      <p:bldP spid="20" grpId="0" animBg="1"/>
      <p:bldP spid="21" grpId="0" animBg="1"/>
      <p:bldP spid="10" grpId="0" animBg="1"/>
      <p:bldP spid="17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5" grpId="0" animBg="1"/>
      <p:bldP spid="36" grpId="0"/>
      <p:bldP spid="37" grpId="0"/>
      <p:bldP spid="38" grpId="0" animBg="1"/>
      <p:bldP spid="39" grpId="0" animBg="1"/>
      <p:bldP spid="4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Drie seisoen</a:t>
            </a:r>
            <a: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/>
            </a:r>
            <a:b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</a:br>
            <a:endParaRPr lang="en-ZA" altLang="en-US" sz="2800" b="1" dirty="0" smtClean="0">
              <a:solidFill>
                <a:srgbClr val="003399"/>
              </a:solidFill>
              <a:latin typeface="Century Gothic" panose="020B0502020202020204" pitchFamily="34" charset="0"/>
              <a:ea typeface="Adobe Arabic"/>
              <a:cs typeface="Adobe Arabic"/>
            </a:endParaRP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5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0738663"/>
              </p:ext>
            </p:extLst>
          </p:nvPr>
        </p:nvGraphicFramePr>
        <p:xfrm>
          <a:off x="0" y="1417638"/>
          <a:ext cx="9144000" cy="544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Right Arrow 23"/>
          <p:cNvSpPr/>
          <p:nvPr/>
        </p:nvSpPr>
        <p:spPr>
          <a:xfrm rot="3145653">
            <a:off x="7958120" y="2088922"/>
            <a:ext cx="576064" cy="288032"/>
          </a:xfrm>
          <a:prstGeom prst="right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" name="Right Arrow 24"/>
          <p:cNvSpPr/>
          <p:nvPr/>
        </p:nvSpPr>
        <p:spPr>
          <a:xfrm rot="3145653">
            <a:off x="8099274" y="3871945"/>
            <a:ext cx="576064" cy="288032"/>
          </a:xfrm>
          <a:prstGeom prst="right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7" name="Left Brace 26"/>
          <p:cNvSpPr/>
          <p:nvPr/>
        </p:nvSpPr>
        <p:spPr>
          <a:xfrm rot="3939471">
            <a:off x="6624217" y="3804910"/>
            <a:ext cx="527720" cy="1295577"/>
          </a:xfrm>
          <a:prstGeom prst="leftBrace">
            <a:avLst/>
          </a:prstGeom>
          <a:noFill/>
          <a:ln>
            <a:solidFill>
              <a:srgbClr val="FF0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6049498" y="2232938"/>
            <a:ext cx="8987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dirty="0" smtClean="0"/>
              <a:t>2019</a:t>
            </a:r>
            <a:endParaRPr lang="af-ZA" dirty="0"/>
          </a:p>
        </p:txBody>
      </p:sp>
      <p:sp>
        <p:nvSpPr>
          <p:cNvPr id="28" name="TextBox 27"/>
          <p:cNvSpPr txBox="1"/>
          <p:nvPr/>
        </p:nvSpPr>
        <p:spPr>
          <a:xfrm>
            <a:off x="7586996" y="1573464"/>
            <a:ext cx="8987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f-ZA" dirty="0" smtClean="0"/>
              <a:t>2018</a:t>
            </a:r>
            <a:endParaRPr lang="af-ZA" dirty="0"/>
          </a:p>
        </p:txBody>
      </p:sp>
    </p:spTree>
    <p:extLst>
      <p:ext uri="{BB962C8B-B14F-4D97-AF65-F5344CB8AC3E}">
        <p14:creationId xmlns:p14="http://schemas.microsoft.com/office/powerpoint/2010/main" val="2016736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Re</a:t>
            </a:r>
            <a: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Calibri" panose="020F0502020204030204" pitchFamily="34" charset="0"/>
              </a:rPr>
              <a:t>ënval</a:t>
            </a:r>
            <a:r>
              <a:rPr lang="af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 tydens en na blom (60 dae) &amp; gemiddelde temperatuur:</a:t>
            </a:r>
            <a:endParaRPr lang="af-ZA" altLang="en-US" sz="2800" b="1" dirty="0" smtClean="0">
              <a:solidFill>
                <a:srgbClr val="003399"/>
              </a:solidFill>
              <a:latin typeface="Century Gothic" panose="020B0502020202020204" pitchFamily="34" charset="0"/>
              <a:ea typeface="Adobe Arabic"/>
              <a:cs typeface="Adobe Arabic"/>
            </a:endParaRP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6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5879728"/>
              </p:ext>
            </p:extLst>
          </p:nvPr>
        </p:nvGraphicFramePr>
        <p:xfrm>
          <a:off x="179512" y="1484313"/>
          <a:ext cx="8784976" cy="5237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376263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ZA" altLang="en-US" sz="2800" b="1" dirty="0" err="1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Re</a:t>
            </a:r>
            <a:r>
              <a:rPr lang="en-ZA" altLang="en-US" sz="2800" b="1" dirty="0" err="1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Calibri" panose="020F0502020204030204" pitchFamily="34" charset="0"/>
              </a:rPr>
              <a:t>ënval</a:t>
            </a:r>
            <a:r>
              <a:rPr lang="en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 </a:t>
            </a:r>
            <a:r>
              <a:rPr lang="en-ZA" altLang="en-US" sz="2800" b="1" dirty="0" err="1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tydens</a:t>
            </a:r>
            <a:r>
              <a:rPr lang="en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 </a:t>
            </a:r>
            <a:r>
              <a:rPr lang="en-ZA" altLang="en-US" sz="2800" b="1" dirty="0" err="1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en</a:t>
            </a:r>
            <a:r>
              <a:rPr lang="en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 </a:t>
            </a:r>
            <a:r>
              <a:rPr lang="en-ZA" altLang="en-US" sz="2800" b="1" dirty="0" err="1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na</a:t>
            </a:r>
            <a:r>
              <a:rPr lang="en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 </a:t>
            </a:r>
            <a:r>
              <a:rPr lang="en-ZA" altLang="en-US" sz="2800" b="1" dirty="0" err="1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blom</a:t>
            </a:r>
            <a:r>
              <a:rPr lang="en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 (60 </a:t>
            </a:r>
            <a:r>
              <a:rPr lang="en-ZA" altLang="en-US" sz="2800" b="1" dirty="0" err="1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dae</a:t>
            </a:r>
            <a:r>
              <a:rPr lang="en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):</a:t>
            </a: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7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5914939"/>
              </p:ext>
            </p:extLst>
          </p:nvPr>
        </p:nvGraphicFramePr>
        <p:xfrm>
          <a:off x="0" y="1417639"/>
          <a:ext cx="9144000" cy="544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Oval 1"/>
          <p:cNvSpPr/>
          <p:nvPr/>
        </p:nvSpPr>
        <p:spPr>
          <a:xfrm rot="20360816">
            <a:off x="1142124" y="2482049"/>
            <a:ext cx="5233232" cy="151216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3542345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1475656" y="3717032"/>
            <a:ext cx="6912768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7977585"/>
              </p:ext>
            </p:extLst>
          </p:nvPr>
        </p:nvGraphicFramePr>
        <p:xfrm>
          <a:off x="-36514" y="1417638"/>
          <a:ext cx="9180514" cy="5440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7890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Saaidatum:</a:t>
            </a: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8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835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2545380"/>
              </p:ext>
            </p:extLst>
          </p:nvPr>
        </p:nvGraphicFramePr>
        <p:xfrm>
          <a:off x="104775" y="1404165"/>
          <a:ext cx="9144000" cy="537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5" name="Straight Connector 14"/>
          <p:cNvCxnSpPr/>
          <p:nvPr/>
        </p:nvCxnSpPr>
        <p:spPr>
          <a:xfrm>
            <a:off x="1547664" y="3573016"/>
            <a:ext cx="6912768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37890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Saaidatum:</a:t>
            </a: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9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660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31038" y="398463"/>
            <a:ext cx="1665287" cy="519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20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nl-NL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Hoe kies ek my kultivar?</a:t>
            </a:r>
            <a:endParaRPr lang="en-ZA" altLang="en-US" sz="2800" b="1" dirty="0" smtClean="0">
              <a:solidFill>
                <a:srgbClr val="003399"/>
              </a:solidFill>
              <a:latin typeface="Century Gothic" panose="020B0502020202020204" pitchFamily="34" charset="0"/>
              <a:ea typeface="Adobe Arabic"/>
              <a:cs typeface="Adobe Arabic"/>
            </a:endParaRPr>
          </a:p>
        </p:txBody>
      </p:sp>
      <p:sp>
        <p:nvSpPr>
          <p:cNvPr id="34821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0B24F4D-5016-437F-A9E1-A1974A8689EC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2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9512" y="2564904"/>
            <a:ext cx="4214637" cy="3240000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73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99994" y="2708920"/>
            <a:ext cx="4574950" cy="3419999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7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98453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038" y="398463"/>
            <a:ext cx="1665287" cy="519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ZA" altLang="en-US" sz="2800" b="1" dirty="0" err="1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Opsomming</a:t>
            </a:r>
            <a:r>
              <a:rPr lang="en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:</a:t>
            </a: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20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23528" y="1490792"/>
            <a:ext cx="8568952" cy="56477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’n Groot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deel van opbrengs potensiaal word bepaal na ek my laaste aksie reeds uitgevoer het.</a:t>
            </a:r>
          </a:p>
          <a:p>
            <a:pPr marL="0" lvl="1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defRPr/>
            </a:pPr>
            <a:endParaRPr lang="af-ZA" altLang="en-US" sz="2000" dirty="0" smtClean="0">
              <a:solidFill>
                <a:srgbClr val="000000"/>
              </a:solidFill>
              <a:latin typeface="Century Gothic" pitchFamily="34" charset="0"/>
              <a:cs typeface="Arial" panose="020B060402020202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dirty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Die opbrengs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wissel met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1.55%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vir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elke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1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mm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wat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reënval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wissel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(&gt;15mm) vir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60 dae periode na aanvang van blom.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 </a:t>
            </a:r>
          </a:p>
          <a:p>
            <a:pPr marL="0" lvl="1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defRPr/>
            </a:pPr>
            <a:endParaRPr lang="af-ZA" altLang="en-US" sz="2000" dirty="0" smtClean="0">
              <a:solidFill>
                <a:srgbClr val="000000"/>
              </a:solidFill>
              <a:latin typeface="Century Gothic" pitchFamily="34" charset="0"/>
              <a:cs typeface="Arial" panose="020B060402020202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 Die opbrengs verwagting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neem toe met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1.5 - 1.6%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vir elke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dag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wat die saailinge vroe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ër opkom.</a:t>
            </a: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endParaRPr lang="af-ZA" altLang="en-US" sz="2000" b="1" dirty="0">
              <a:solidFill>
                <a:srgbClr val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Wat is die vroegste datum vir die Swartland?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Ek het nie data beskikbaar vir April nie maar natuurlike omstandighede bepaal wat moontlik is in die Swartland. </a:t>
            </a:r>
            <a:endParaRPr lang="af-ZA" altLang="en-US" sz="2000" dirty="0">
              <a:solidFill>
                <a:srgbClr val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endParaRPr lang="af-ZA" altLang="en-US" sz="2000" b="1" dirty="0" smtClean="0">
              <a:solidFill>
                <a:srgbClr val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b="1" dirty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Reënval van 20mm word as betekenisvol beskou,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s ons vroeg wil plant (laaste week van April) plant in voldoende vog. </a:t>
            </a:r>
            <a:endParaRPr lang="af-ZA" altLang="en-US" sz="2000" dirty="0" smtClean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endParaRPr lang="en-ZA" altLang="en-US" sz="2000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lvl="1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defRPr/>
            </a:pPr>
            <a:endParaRPr lang="en-ZA" altLang="en-US" sz="1600" dirty="0">
              <a:solidFill>
                <a:srgbClr val="000000"/>
              </a:solidFill>
              <a:latin typeface="Century Gothic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6727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038" y="398463"/>
            <a:ext cx="1665287" cy="519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ZA" altLang="en-US" sz="2800" b="1" dirty="0" err="1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Opsomming</a:t>
            </a:r>
            <a:r>
              <a:rPr lang="en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:</a:t>
            </a: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21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23528" y="1490792"/>
            <a:ext cx="8568952" cy="4685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Belangrik: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 Dit wil voorkom of ’n plantdatum in die middel Swartland van tot 9 Mei nie ’n opbrengsverlaging tot gevolg het nie. </a:t>
            </a:r>
          </a:p>
          <a:p>
            <a:pPr marL="0" lvl="1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defRPr/>
            </a:pPr>
            <a:endParaRPr lang="af-ZA" altLang="en-US" sz="2000" dirty="0" smtClean="0">
              <a:solidFill>
                <a:srgbClr val="000000"/>
              </a:solidFill>
              <a:latin typeface="Century Gothic" pitchFamily="34" charset="0"/>
              <a:cs typeface="Arial" panose="020B060402020202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dirty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As ŉ reël word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vinnige tot medium kultivars 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vir die Swartland aanbeveel. </a:t>
            </a: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endParaRPr lang="af-ZA" altLang="en-US" sz="2000" dirty="0">
              <a:solidFill>
                <a:srgbClr val="000000"/>
              </a:solidFill>
              <a:latin typeface="Century Gothic" pitchFamily="34" charset="0"/>
              <a:cs typeface="Arial" panose="020B060402020202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dirty="0" smtClean="0">
                <a:solidFill>
                  <a:srgbClr val="000000"/>
                </a:solidFill>
                <a:latin typeface="Century Gothic" pitchFamily="34" charset="0"/>
                <a:cs typeface="Arial" panose="020B0604020202020204" pitchFamily="34" charset="0"/>
              </a:rPr>
              <a:t> Rede: wanneer laat kultivars blom is die risiko soveel groter om aan ho</a:t>
            </a:r>
            <a:r>
              <a:rPr lang="af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ër temperature blootgestel te word. </a:t>
            </a: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endParaRPr lang="af-ZA" altLang="en-US" sz="2000" b="1" dirty="0">
              <a:solidFill>
                <a:srgbClr val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Mag ons ’n seisoen soos 2020 </a:t>
            </a:r>
            <a:r>
              <a:rPr lang="af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beleef!</a:t>
            </a: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endParaRPr lang="af-ZA" altLang="en-US" sz="2000" b="1" dirty="0">
              <a:solidFill>
                <a:srgbClr val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marL="179388" lvl="1" indent="-179388" algn="just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  <a:defRPr/>
            </a:pPr>
            <a:r>
              <a:rPr lang="af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Wees veilig wees gesond!</a:t>
            </a:r>
            <a:endParaRPr lang="en-ZA" altLang="en-US" sz="2000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lvl="1" fontAlgn="base"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defRPr/>
            </a:pPr>
            <a:endParaRPr lang="en-ZA" altLang="en-US" sz="1600" dirty="0">
              <a:solidFill>
                <a:srgbClr val="000000"/>
              </a:solidFill>
              <a:latin typeface="Century Gothic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524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35275" y="2697163"/>
            <a:ext cx="3897313" cy="265112"/>
          </a:xfrm>
        </p:spPr>
        <p:txBody>
          <a:bodyPr/>
          <a:lstStyle/>
          <a:p>
            <a:pPr eaLnBrk="1" hangingPunct="1"/>
            <a:r>
              <a:rPr lang="en-GB" altLang="en-US" smtClean="0"/>
              <a:t>Piet Lombard</a:t>
            </a:r>
          </a:p>
        </p:txBody>
      </p:sp>
      <p:sp>
        <p:nvSpPr>
          <p:cNvPr id="53251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835275" y="2963863"/>
            <a:ext cx="3897313" cy="266700"/>
          </a:xfrm>
        </p:spPr>
        <p:txBody>
          <a:bodyPr/>
          <a:lstStyle/>
          <a:p>
            <a:pPr eaLnBrk="1" hangingPunct="1"/>
            <a:r>
              <a:rPr lang="en-GB" altLang="en-US" smtClean="0"/>
              <a:t>Directorate Plant Sciences</a:t>
            </a:r>
          </a:p>
        </p:txBody>
      </p:sp>
      <p:sp>
        <p:nvSpPr>
          <p:cNvPr id="53252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132138" y="3494088"/>
            <a:ext cx="1439862" cy="266700"/>
          </a:xfrm>
        </p:spPr>
        <p:txBody>
          <a:bodyPr/>
          <a:lstStyle/>
          <a:p>
            <a:pPr eaLnBrk="1" hangingPunct="1"/>
            <a:r>
              <a:rPr lang="en-GB" altLang="en-US" dirty="0" smtClean="0"/>
              <a:t>082 9071144</a:t>
            </a:r>
          </a:p>
        </p:txBody>
      </p:sp>
      <p:sp>
        <p:nvSpPr>
          <p:cNvPr id="5325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35275" y="3768725"/>
            <a:ext cx="3733800" cy="266700"/>
          </a:xfrm>
        </p:spPr>
        <p:txBody>
          <a:bodyPr/>
          <a:lstStyle/>
          <a:p>
            <a:pPr eaLnBrk="1" hangingPunct="1"/>
            <a:r>
              <a:rPr lang="en-GB" altLang="en-US" smtClean="0"/>
              <a:t>PietL@elsenburg.co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5959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1812181"/>
              </p:ext>
            </p:extLst>
          </p:nvPr>
        </p:nvGraphicFramePr>
        <p:xfrm>
          <a:off x="0" y="5"/>
          <a:ext cx="9144002" cy="6857988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1418818"/>
                <a:gridCol w="1931296"/>
                <a:gridCol w="1931296"/>
                <a:gridCol w="1931296"/>
                <a:gridCol w="1931296"/>
              </a:tblGrid>
              <a:tr h="578386">
                <a:tc>
                  <a:txBody>
                    <a:bodyPr/>
                    <a:lstStyle/>
                    <a:p>
                      <a:pPr algn="l" fontAlgn="ctr"/>
                      <a:r>
                        <a:rPr lang="en-ZA" sz="1600" b="1" u="none" strike="noStrike" dirty="0" err="1" smtClean="0">
                          <a:solidFill>
                            <a:schemeClr val="bg1"/>
                          </a:solidFill>
                          <a:effectLst/>
                        </a:rPr>
                        <a:t>Kultivars</a:t>
                      </a:r>
                      <a:r>
                        <a:rPr lang="en-ZA" sz="16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</a:p>
                    <a:p>
                      <a:pPr algn="l" fontAlgn="ctr"/>
                      <a:r>
                        <a:rPr lang="en-ZA" sz="16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2020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anggew</a:t>
                      </a:r>
                      <a:r>
                        <a:rPr lang="en-ZA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. </a:t>
                      </a:r>
                      <a:r>
                        <a:rPr lang="en-ZA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  <a:p>
                      <a:pPr algn="ctr" fontAlgn="b"/>
                      <a:r>
                        <a:rPr lang="en-ZA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1 Mei 2020</a:t>
                      </a:r>
                      <a:endParaRPr lang="en-ZA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anggew</a:t>
                      </a:r>
                      <a:r>
                        <a:rPr lang="en-ZA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. </a:t>
                      </a:r>
                      <a:r>
                        <a:rPr lang="en-ZA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  <a:p>
                      <a:pPr algn="ctr" fontAlgn="b"/>
                      <a:r>
                        <a:rPr lang="en-ZA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 Junie 2020</a:t>
                      </a:r>
                      <a:endParaRPr lang="en-ZA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Hopefield</a:t>
                      </a:r>
                      <a:endParaRPr lang="en-ZA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  <a:p>
                      <a:pPr algn="ctr" fontAlgn="b"/>
                      <a:r>
                        <a:rPr lang="en-ZA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8 Mei 2020</a:t>
                      </a:r>
                      <a:endParaRPr lang="en-ZA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Wes-</a:t>
                      </a:r>
                      <a:r>
                        <a:rPr lang="en-ZA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Kaap</a:t>
                      </a:r>
                      <a:endParaRPr lang="en-ZA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  <a:p>
                      <a:pPr algn="ctr" fontAlgn="b"/>
                      <a:r>
                        <a:rPr lang="en-ZA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middeld</a:t>
                      </a:r>
                      <a:endParaRPr lang="en-ZA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318703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u="none" strike="noStrike" dirty="0">
                          <a:effectLst/>
                          <a:latin typeface="+mn-lt"/>
                        </a:rPr>
                        <a:t>kg ha</a:t>
                      </a:r>
                      <a:r>
                        <a:rPr lang="en-ZA" sz="1200" u="none" strike="noStrike" baseline="30000" dirty="0">
                          <a:effectLst/>
                          <a:latin typeface="+mn-lt"/>
                        </a:rPr>
                        <a:t>-1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u="none" strike="noStrike" dirty="0">
                          <a:effectLst/>
                          <a:latin typeface="+mn-lt"/>
                        </a:rPr>
                        <a:t>kg ha</a:t>
                      </a:r>
                      <a:r>
                        <a:rPr lang="en-ZA" sz="1200" u="none" strike="noStrike" baseline="30000" dirty="0">
                          <a:effectLst/>
                          <a:latin typeface="+mn-lt"/>
                        </a:rPr>
                        <a:t>-1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u="none" strike="noStrike">
                          <a:effectLst/>
                          <a:latin typeface="+mn-lt"/>
                        </a:rPr>
                        <a:t>kg ha</a:t>
                      </a:r>
                      <a:r>
                        <a:rPr lang="en-ZA" sz="1200" u="none" strike="noStrike" baseline="30000">
                          <a:effectLst/>
                          <a:latin typeface="+mn-lt"/>
                        </a:rPr>
                        <a:t>-1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u="none" strike="noStrike" dirty="0">
                          <a:effectLst/>
                          <a:latin typeface="+mn-lt"/>
                        </a:rPr>
                        <a:t>kg ha</a:t>
                      </a:r>
                      <a:r>
                        <a:rPr lang="en-ZA" sz="1200" u="none" strike="noStrike" baseline="30000" dirty="0">
                          <a:effectLst/>
                          <a:latin typeface="+mn-lt"/>
                        </a:rPr>
                        <a:t>-1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 err="1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Hyola</a:t>
                      </a:r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 50 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26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30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cd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43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cd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66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Diamond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79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13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c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09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72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c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Tango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12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74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35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cde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40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f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Quarts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68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03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cde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84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83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06898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ZA" sz="1200" b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onv</a:t>
                      </a:r>
                      <a:r>
                        <a:rPr lang="en-ZA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. gem.</a:t>
                      </a:r>
                      <a:endParaRPr lang="en-ZA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196</a:t>
                      </a: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C600">
                            <a:shade val="30000"/>
                            <a:satMod val="115000"/>
                          </a:srgbClr>
                        </a:gs>
                        <a:gs pos="50000">
                          <a:srgbClr val="FFC600">
                            <a:shade val="67500"/>
                            <a:satMod val="115000"/>
                          </a:srgbClr>
                        </a:gs>
                        <a:gs pos="100000">
                          <a:srgbClr val="FFC60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255</a:t>
                      </a: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C600">
                            <a:shade val="30000"/>
                            <a:satMod val="115000"/>
                          </a:srgbClr>
                        </a:gs>
                        <a:gs pos="50000">
                          <a:srgbClr val="FFC600">
                            <a:shade val="67500"/>
                            <a:satMod val="115000"/>
                          </a:srgbClr>
                        </a:gs>
                        <a:gs pos="100000">
                          <a:srgbClr val="FFC60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618</a:t>
                      </a: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C600">
                            <a:shade val="30000"/>
                            <a:satMod val="115000"/>
                          </a:srgbClr>
                        </a:gs>
                        <a:gs pos="50000">
                          <a:srgbClr val="FFC600">
                            <a:shade val="67500"/>
                            <a:satMod val="115000"/>
                          </a:srgbClr>
                        </a:gs>
                        <a:gs pos="100000">
                          <a:srgbClr val="FFC60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340</a:t>
                      </a: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FFC600">
                            <a:shade val="30000"/>
                            <a:satMod val="115000"/>
                          </a:srgbClr>
                        </a:gs>
                        <a:gs pos="50000">
                          <a:srgbClr val="FFC600">
                            <a:shade val="67500"/>
                            <a:satMod val="115000"/>
                          </a:srgbClr>
                        </a:gs>
                        <a:gs pos="100000">
                          <a:srgbClr val="FFC60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43Y92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34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70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50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c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64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45Y93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56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13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11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cde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70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45Y91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73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35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cde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77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75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44Y90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72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50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81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04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5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28329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ZA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L </a:t>
                      </a:r>
                      <a:r>
                        <a:rPr lang="en-ZA" sz="1200" b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emiddeld</a:t>
                      </a:r>
                      <a:endParaRPr lang="en-ZA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92D050">
                            <a:shade val="30000"/>
                            <a:satMod val="115000"/>
                          </a:srgbClr>
                        </a:gs>
                        <a:gs pos="50000">
                          <a:srgbClr val="92D050">
                            <a:shade val="67500"/>
                            <a:satMod val="115000"/>
                          </a:srgbClr>
                        </a:gs>
                        <a:gs pos="100000">
                          <a:srgbClr val="92D05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884</a:t>
                      </a: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92D050">
                            <a:shade val="30000"/>
                            <a:satMod val="115000"/>
                          </a:srgbClr>
                        </a:gs>
                        <a:gs pos="50000">
                          <a:srgbClr val="92D050">
                            <a:shade val="67500"/>
                            <a:satMod val="115000"/>
                          </a:srgbClr>
                        </a:gs>
                        <a:gs pos="100000">
                          <a:srgbClr val="92D05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492</a:t>
                      </a: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92D050">
                            <a:shade val="30000"/>
                            <a:satMod val="115000"/>
                          </a:srgbClr>
                        </a:gs>
                        <a:gs pos="50000">
                          <a:srgbClr val="92D050">
                            <a:shade val="67500"/>
                            <a:satMod val="115000"/>
                          </a:srgbClr>
                        </a:gs>
                        <a:gs pos="100000">
                          <a:srgbClr val="92D05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55</a:t>
                      </a: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92D050">
                            <a:shade val="30000"/>
                            <a:satMod val="115000"/>
                          </a:srgbClr>
                        </a:gs>
                        <a:gs pos="50000">
                          <a:srgbClr val="92D050">
                            <a:shade val="67500"/>
                            <a:satMod val="115000"/>
                          </a:srgbClr>
                        </a:gs>
                        <a:gs pos="100000">
                          <a:srgbClr val="92D05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778</a:t>
                      </a: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rgbClr val="92D050">
                            <a:shade val="30000"/>
                            <a:satMod val="115000"/>
                          </a:srgbClr>
                        </a:gs>
                        <a:gs pos="50000">
                          <a:srgbClr val="92D050">
                            <a:shade val="67500"/>
                            <a:satMod val="115000"/>
                          </a:srgbClr>
                        </a:gs>
                        <a:gs pos="100000">
                          <a:srgbClr val="92D05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Alpha TT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3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97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c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15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cde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78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cde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01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d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 err="1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Hyola</a:t>
                      </a:r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 555 TT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chemeClr val="accent3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89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38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86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72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 err="1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Hyola</a:t>
                      </a:r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 559 TT 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chemeClr val="accent3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32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29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cde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66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cd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28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f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 err="1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Hyola</a:t>
                      </a:r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 350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chemeClr val="accent3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56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d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27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cde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87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19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f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 err="1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Hyola</a:t>
                      </a:r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 650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chemeClr val="accent3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79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cd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77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de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34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69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42309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 err="1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Hyola</a:t>
                      </a:r>
                      <a:r>
                        <a:rPr lang="en-ZA" sz="1200" b="1" u="none" strike="noStrike" dirty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 580CT</a:t>
                      </a:r>
                      <a:endParaRPr lang="en-ZA" sz="1200" b="1" i="0" u="none" strike="noStrike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chemeClr val="accent3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69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cd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28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26</a:t>
                      </a:r>
                      <a:r>
                        <a:rPr lang="en-ZA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de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81</a:t>
                      </a:r>
                      <a:r>
                        <a:rPr lang="en-ZA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f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rgbClr val="B5AEA7">
                            <a:tint val="66000"/>
                            <a:satMod val="160000"/>
                          </a:srgbClr>
                        </a:gs>
                        <a:gs pos="50000">
                          <a:srgbClr val="B5AEA7">
                            <a:tint val="44500"/>
                            <a:satMod val="160000"/>
                          </a:srgbClr>
                        </a:gs>
                        <a:gs pos="100000">
                          <a:srgbClr val="B5AEA7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295095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ZA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T </a:t>
                      </a:r>
                      <a:r>
                        <a:rPr lang="en-ZA" sz="1200" b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emiddeld</a:t>
                      </a:r>
                      <a:endParaRPr lang="en-ZA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gradFill flip="none" rotWithShape="1">
                      <a:gsLst>
                        <a:gs pos="0">
                          <a:schemeClr val="accent4">
                            <a:lumMod val="75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75000"/>
                            <a:shade val="67500"/>
                            <a:satMod val="115000"/>
                          </a:schemeClr>
                        </a:gs>
                        <a:gs pos="100000">
                          <a:schemeClr val="accent4">
                            <a:lumMod val="7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37</a:t>
                      </a: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4">
                            <a:lumMod val="75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75000"/>
                            <a:shade val="67500"/>
                            <a:satMod val="115000"/>
                          </a:schemeClr>
                        </a:gs>
                        <a:gs pos="100000">
                          <a:schemeClr val="accent4">
                            <a:lumMod val="7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52</a:t>
                      </a: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4">
                            <a:lumMod val="75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75000"/>
                            <a:shade val="67500"/>
                            <a:satMod val="115000"/>
                          </a:schemeClr>
                        </a:gs>
                        <a:gs pos="100000">
                          <a:schemeClr val="accent4">
                            <a:lumMod val="7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846</a:t>
                      </a: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4">
                            <a:lumMod val="75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75000"/>
                            <a:shade val="67500"/>
                            <a:satMod val="115000"/>
                          </a:schemeClr>
                        </a:gs>
                        <a:gs pos="100000">
                          <a:schemeClr val="accent4">
                            <a:lumMod val="7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12</a:t>
                      </a:r>
                    </a:p>
                  </a:txBody>
                  <a:tcPr marL="7620" marR="7620" marT="7620" marB="0" anchor="ctr">
                    <a:gradFill flip="none" rotWithShape="1">
                      <a:gsLst>
                        <a:gs pos="0">
                          <a:schemeClr val="accent4">
                            <a:lumMod val="75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75000"/>
                            <a:shade val="67500"/>
                            <a:satMod val="115000"/>
                          </a:schemeClr>
                        </a:gs>
                        <a:gs pos="100000">
                          <a:schemeClr val="accent4">
                            <a:lumMod val="7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28329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ZA" sz="1200" b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oef</a:t>
                      </a:r>
                      <a:r>
                        <a:rPr lang="en-ZA" sz="12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gem.</a:t>
                      </a:r>
                      <a:endParaRPr lang="en-ZA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324</a:t>
                      </a:r>
                    </a:p>
                  </a:txBody>
                  <a:tcPr marL="7620" marR="7620" marT="7620" marB="0" anchor="b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236</a:t>
                      </a:r>
                    </a:p>
                  </a:txBody>
                  <a:tcPr marL="7620" marR="7620" marT="7620" marB="0" anchor="b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269</a:t>
                      </a:r>
                    </a:p>
                  </a:txBody>
                  <a:tcPr marL="7620" marR="7620" marT="7620" marB="0" anchor="b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325</a:t>
                      </a:r>
                    </a:p>
                  </a:txBody>
                  <a:tcPr marL="7620" marR="7620" marT="7620" marB="0" anchor="b"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3</a:t>
            </a:fld>
            <a:endParaRPr lang="en-ZA" dirty="0"/>
          </a:p>
        </p:txBody>
      </p:sp>
      <p:sp>
        <p:nvSpPr>
          <p:cNvPr id="18" name="Snip Diagonal Corner Rectangle 17"/>
          <p:cNvSpPr/>
          <p:nvPr/>
        </p:nvSpPr>
        <p:spPr>
          <a:xfrm>
            <a:off x="1931212" y="2609961"/>
            <a:ext cx="936104" cy="1297796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20" name="Snip Diagonal Corner Rectangle 19"/>
          <p:cNvSpPr/>
          <p:nvPr/>
        </p:nvSpPr>
        <p:spPr>
          <a:xfrm>
            <a:off x="1931212" y="1233949"/>
            <a:ext cx="936104" cy="322843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29" name="Snip Diagonal Corner Rectangle 28"/>
          <p:cNvSpPr/>
          <p:nvPr/>
        </p:nvSpPr>
        <p:spPr>
          <a:xfrm>
            <a:off x="1931212" y="1958557"/>
            <a:ext cx="936104" cy="278109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3770677" y="2612259"/>
            <a:ext cx="970815" cy="1295498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36" name="Snip Diagonal Corner Rectangle 35"/>
          <p:cNvSpPr/>
          <p:nvPr/>
        </p:nvSpPr>
        <p:spPr>
          <a:xfrm>
            <a:off x="3779912" y="924768"/>
            <a:ext cx="938109" cy="632023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37" name="Snip Diagonal Corner Rectangle 36"/>
          <p:cNvSpPr/>
          <p:nvPr/>
        </p:nvSpPr>
        <p:spPr>
          <a:xfrm>
            <a:off x="5760679" y="3284984"/>
            <a:ext cx="938109" cy="656722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39" name="Snip Diagonal Corner Rectangle 38"/>
          <p:cNvSpPr/>
          <p:nvPr/>
        </p:nvSpPr>
        <p:spPr>
          <a:xfrm>
            <a:off x="7740352" y="2598736"/>
            <a:ext cx="938109" cy="1309021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40" name="Snip Diagonal Corner Rectangle 39"/>
          <p:cNvSpPr/>
          <p:nvPr/>
        </p:nvSpPr>
        <p:spPr>
          <a:xfrm>
            <a:off x="7740352" y="1937577"/>
            <a:ext cx="938109" cy="276908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42" name="Snip Diagonal Corner Rectangle 41"/>
          <p:cNvSpPr/>
          <p:nvPr/>
        </p:nvSpPr>
        <p:spPr>
          <a:xfrm>
            <a:off x="1910334" y="5243287"/>
            <a:ext cx="936104" cy="1000779"/>
          </a:xfrm>
          <a:prstGeom prst="snip2DiagRect">
            <a:avLst/>
          </a:prstGeom>
          <a:noFill/>
          <a:ln w="57150">
            <a:solidFill>
              <a:srgbClr val="4188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45" name="Snip Diagonal Corner Rectangle 44"/>
          <p:cNvSpPr/>
          <p:nvPr/>
        </p:nvSpPr>
        <p:spPr>
          <a:xfrm>
            <a:off x="3834504" y="4262688"/>
            <a:ext cx="936104" cy="632207"/>
          </a:xfrm>
          <a:prstGeom prst="snip2DiagRect">
            <a:avLst/>
          </a:prstGeom>
          <a:noFill/>
          <a:ln w="57150">
            <a:solidFill>
              <a:srgbClr val="4188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49" name="Snip Diagonal Corner Rectangle 48"/>
          <p:cNvSpPr/>
          <p:nvPr/>
        </p:nvSpPr>
        <p:spPr>
          <a:xfrm>
            <a:off x="7668344" y="4264768"/>
            <a:ext cx="936104" cy="271568"/>
          </a:xfrm>
          <a:prstGeom prst="snip2DiagRect">
            <a:avLst/>
          </a:prstGeom>
          <a:noFill/>
          <a:ln w="57150">
            <a:solidFill>
              <a:srgbClr val="4188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25" name="Snip Diagonal Corner Rectangle 24"/>
          <p:cNvSpPr/>
          <p:nvPr/>
        </p:nvSpPr>
        <p:spPr>
          <a:xfrm>
            <a:off x="3770677" y="1927486"/>
            <a:ext cx="938109" cy="309180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26" name="Snip Diagonal Corner Rectangle 25"/>
          <p:cNvSpPr/>
          <p:nvPr/>
        </p:nvSpPr>
        <p:spPr>
          <a:xfrm>
            <a:off x="7740352" y="5634742"/>
            <a:ext cx="936104" cy="257665"/>
          </a:xfrm>
          <a:prstGeom prst="snip2DiagRect">
            <a:avLst/>
          </a:prstGeom>
          <a:noFill/>
          <a:ln w="57150">
            <a:solidFill>
              <a:srgbClr val="4188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27" name="Snip Diagonal Corner Rectangle 26"/>
          <p:cNvSpPr/>
          <p:nvPr/>
        </p:nvSpPr>
        <p:spPr>
          <a:xfrm>
            <a:off x="5752692" y="1943021"/>
            <a:ext cx="938109" cy="309180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28" name="Snip Diagonal Corner Rectangle 27"/>
          <p:cNvSpPr/>
          <p:nvPr/>
        </p:nvSpPr>
        <p:spPr>
          <a:xfrm>
            <a:off x="5758918" y="4937057"/>
            <a:ext cx="938109" cy="309180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30" name="Snip Diagonal Corner Rectangle 29"/>
          <p:cNvSpPr/>
          <p:nvPr/>
        </p:nvSpPr>
        <p:spPr>
          <a:xfrm>
            <a:off x="5752692" y="931599"/>
            <a:ext cx="938109" cy="625192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31" name="Snip Diagonal Corner Rectangle 30"/>
          <p:cNvSpPr/>
          <p:nvPr/>
        </p:nvSpPr>
        <p:spPr>
          <a:xfrm>
            <a:off x="5755389" y="2598736"/>
            <a:ext cx="938109" cy="309180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32" name="Snip Diagonal Corner Rectangle 31"/>
          <p:cNvSpPr/>
          <p:nvPr/>
        </p:nvSpPr>
        <p:spPr>
          <a:xfrm>
            <a:off x="5760679" y="4251457"/>
            <a:ext cx="938109" cy="624460"/>
          </a:xfrm>
          <a:prstGeom prst="snip2DiagRect">
            <a:avLst/>
          </a:prstGeom>
          <a:noFill/>
          <a:ln w="57150">
            <a:solidFill>
              <a:srgbClr val="4188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33" name="Snip Diagonal Corner Rectangle 32"/>
          <p:cNvSpPr/>
          <p:nvPr/>
        </p:nvSpPr>
        <p:spPr>
          <a:xfrm>
            <a:off x="5760679" y="5619607"/>
            <a:ext cx="938109" cy="624460"/>
          </a:xfrm>
          <a:prstGeom prst="snip2DiagRect">
            <a:avLst/>
          </a:prstGeom>
          <a:noFill/>
          <a:ln w="57150">
            <a:solidFill>
              <a:srgbClr val="4188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34" name="Snip Diagonal Corner Rectangle 33"/>
          <p:cNvSpPr/>
          <p:nvPr/>
        </p:nvSpPr>
        <p:spPr>
          <a:xfrm>
            <a:off x="7740352" y="4907249"/>
            <a:ext cx="936104" cy="301188"/>
          </a:xfrm>
          <a:prstGeom prst="snip2DiagRect">
            <a:avLst/>
          </a:prstGeom>
          <a:noFill/>
          <a:ln w="57150">
            <a:solidFill>
              <a:srgbClr val="4188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51" name="Snip Diagonal Corner Rectangle 50"/>
          <p:cNvSpPr/>
          <p:nvPr/>
        </p:nvSpPr>
        <p:spPr>
          <a:xfrm>
            <a:off x="1910334" y="4220330"/>
            <a:ext cx="938109" cy="309180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52" name="Snip Diagonal Corner Rectangle 51"/>
          <p:cNvSpPr/>
          <p:nvPr/>
        </p:nvSpPr>
        <p:spPr>
          <a:xfrm>
            <a:off x="3834504" y="4937057"/>
            <a:ext cx="938109" cy="629576"/>
          </a:xfrm>
          <a:prstGeom prst="snip2Diag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sp>
        <p:nvSpPr>
          <p:cNvPr id="53" name="Snip Diagonal Corner Rectangle 52"/>
          <p:cNvSpPr/>
          <p:nvPr/>
        </p:nvSpPr>
        <p:spPr>
          <a:xfrm>
            <a:off x="3841090" y="5634742"/>
            <a:ext cx="936104" cy="632207"/>
          </a:xfrm>
          <a:prstGeom prst="snip2DiagRect">
            <a:avLst/>
          </a:prstGeom>
          <a:noFill/>
          <a:ln w="57150">
            <a:solidFill>
              <a:srgbClr val="4188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789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31038" y="398463"/>
            <a:ext cx="1665287" cy="519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20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nl-NL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Wat is die belangrike vrae?</a:t>
            </a:r>
            <a:endParaRPr lang="en-ZA" altLang="en-US" sz="2800" b="1" dirty="0" smtClean="0">
              <a:solidFill>
                <a:srgbClr val="003399"/>
              </a:solidFill>
              <a:latin typeface="Century Gothic" panose="020B0502020202020204" pitchFamily="34" charset="0"/>
              <a:ea typeface="Adobe Arabic"/>
              <a:cs typeface="Adobe Arabic"/>
            </a:endParaRPr>
          </a:p>
        </p:txBody>
      </p:sp>
      <p:sp>
        <p:nvSpPr>
          <p:cNvPr id="34821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0B24F4D-5016-437F-A9E1-A1974A8689EC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3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sp>
        <p:nvSpPr>
          <p:cNvPr id="31750" name="Rectangle 1"/>
          <p:cNvSpPr>
            <a:spLocks noChangeArrowheads="1"/>
          </p:cNvSpPr>
          <p:nvPr/>
        </p:nvSpPr>
        <p:spPr bwMode="auto">
          <a:xfrm>
            <a:off x="457200" y="1430338"/>
            <a:ext cx="8229600" cy="340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79388" indent="-179388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1" algn="just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 typeface="Arial" panose="020B0604020202020204" pitchFamily="34" charset="0"/>
              <a:buBlip>
                <a:blip r:embed="rId5"/>
              </a:buBlip>
            </a:pP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Vra </a:t>
            </a:r>
            <a:r>
              <a:rPr lang="en-ZA" altLang="en-US" sz="2000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self</a:t>
            </a:r>
            <a:r>
              <a:rPr lang="en-ZA" altLang="en-US" sz="20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f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en-ZA" altLang="en-US" sz="2000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watter</a:t>
            </a:r>
            <a:r>
              <a:rPr lang="en-ZA" altLang="en-US" sz="20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nkruide</a:t>
            </a:r>
            <a:r>
              <a:rPr lang="en-ZA" altLang="en-US" sz="20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s ‘n </a:t>
            </a:r>
            <a:r>
              <a:rPr lang="en-ZA" altLang="en-US" sz="2000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obleem</a:t>
            </a:r>
            <a:r>
              <a:rPr lang="en-ZA" altLang="en-US" sz="20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 die </a:t>
            </a:r>
            <a:r>
              <a:rPr lang="en-ZA" altLang="en-US" sz="2000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trokke</a:t>
            </a:r>
            <a:r>
              <a:rPr lang="en-ZA" altLang="en-US" sz="20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and/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laas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?</a:t>
            </a:r>
            <a:endParaRPr lang="en-ZA" altLang="en-US" sz="2000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1" algn="just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</a:pP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Watter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b="1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hemiese</a:t>
            </a:r>
            <a:r>
              <a:rPr lang="en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b="1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iddels</a:t>
            </a:r>
            <a:r>
              <a:rPr lang="en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an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k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t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ee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heer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maw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heer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trategie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lvl="1" algn="just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</a:pPr>
            <a:r>
              <a:rPr lang="en-ZA" altLang="en-US" sz="20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nl-NL" altLang="en-US" sz="20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orweeg </a:t>
            </a:r>
            <a:r>
              <a:rPr lang="nl-NL" altLang="en-US" sz="20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watter onkruiddoder residue </a:t>
            </a:r>
            <a:r>
              <a:rPr lang="nl-NL" altLang="en-US" sz="20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 die grond teenwoordig kan wees (beslis minder van ‘n rol in die Suid-Kaap</a:t>
            </a:r>
            <a:r>
              <a:rPr lang="nl-NL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.</a:t>
            </a:r>
            <a:endParaRPr lang="nl-NL" altLang="en-US" sz="2000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7391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31038" y="398463"/>
            <a:ext cx="1665287" cy="519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20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nl-NL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Keuses?</a:t>
            </a:r>
            <a:endParaRPr lang="en-ZA" altLang="en-US" sz="2800" b="1" dirty="0" smtClean="0">
              <a:solidFill>
                <a:srgbClr val="003399"/>
              </a:solidFill>
              <a:latin typeface="Century Gothic" panose="020B0502020202020204" pitchFamily="34" charset="0"/>
              <a:ea typeface="Adobe Arabic"/>
              <a:cs typeface="Adobe Arabic"/>
            </a:endParaRPr>
          </a:p>
        </p:txBody>
      </p:sp>
      <p:sp>
        <p:nvSpPr>
          <p:cNvPr id="34821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0B24F4D-5016-437F-A9E1-A1974A8689EC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4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sp>
        <p:nvSpPr>
          <p:cNvPr id="31750" name="Rectangle 1"/>
          <p:cNvSpPr>
            <a:spLocks noChangeArrowheads="1"/>
          </p:cNvSpPr>
          <p:nvPr/>
        </p:nvSpPr>
        <p:spPr bwMode="auto">
          <a:xfrm>
            <a:off x="457200" y="1430338"/>
            <a:ext cx="4906888" cy="6863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79388" indent="-179388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1" algn="just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 typeface="Arial" panose="020B0604020202020204" pitchFamily="34" charset="0"/>
              <a:buBlip>
                <a:blip r:embed="rId5"/>
              </a:buBlip>
            </a:pP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Kies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ou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ie </a:t>
            </a:r>
            <a:r>
              <a:rPr lang="en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roep van </a:t>
            </a:r>
            <a:r>
              <a:rPr lang="en-ZA" altLang="en-US" sz="2000" b="1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ultivars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v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onvensioneel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en-ZA" altLang="en-US" sz="2000" dirty="0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L (</a:t>
            </a:r>
            <a:r>
              <a:rPr lang="en-ZA" altLang="en-US" sz="2000" dirty="0" err="1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learfield</a:t>
            </a:r>
            <a:r>
              <a:rPr lang="en-ZA" altLang="en-US" sz="2000" baseline="30000" dirty="0" err="1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</a:t>
            </a:r>
            <a:r>
              <a:rPr lang="en-ZA" altLang="en-US" sz="2000" dirty="0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en-ZA" altLang="en-US" sz="2000" dirty="0" err="1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masamoks</a:t>
            </a:r>
            <a:r>
              <a:rPr lang="en-ZA" altLang="en-US" sz="2000" dirty="0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olerante</a:t>
            </a:r>
            <a:r>
              <a:rPr lang="en-ZA" altLang="en-US" sz="2000" dirty="0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 </a:t>
            </a:r>
            <a:r>
              <a:rPr lang="en-ZA" altLang="en-US" sz="2000" dirty="0" err="1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n</a:t>
            </a:r>
            <a:r>
              <a:rPr lang="en-ZA" altLang="en-US" sz="2000" dirty="0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TT (</a:t>
            </a:r>
            <a:r>
              <a:rPr lang="en-ZA" altLang="en-US" sz="2000" dirty="0" err="1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riasien</a:t>
            </a:r>
            <a:r>
              <a:rPr lang="en-ZA" altLang="en-US" sz="2000" dirty="0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olerante</a:t>
            </a:r>
            <a:r>
              <a:rPr lang="en-ZA" altLang="en-US" sz="2000" dirty="0" smtClean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</a:t>
            </a:r>
          </a:p>
          <a:p>
            <a:pPr marL="0" lvl="1" indent="0" algn="just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 typeface="Arial" panose="020B0604020202020204" pitchFamily="34" charset="0"/>
              <a:buNone/>
            </a:pPr>
            <a:endParaRPr lang="en-ZA" altLang="en-US" sz="2000" dirty="0" smtClean="0">
              <a:solidFill>
                <a:prstClr val="black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lvl="1" indent="0" algn="just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 typeface="Arial" panose="020B0604020202020204" pitchFamily="34" charset="0"/>
              <a:buNone/>
            </a:pPr>
            <a:endParaRPr lang="en-ZA" altLang="en-US" sz="2000" dirty="0">
              <a:solidFill>
                <a:prstClr val="black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1" algn="just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</a:pP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yk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a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ultivars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met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oeie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wartstamweerstand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inne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jou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ZA" altLang="en-US" sz="200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ekose</a:t>
            </a:r>
            <a:r>
              <a:rPr lang="en-ZA" altLang="en-US" sz="20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groep.</a:t>
            </a:r>
          </a:p>
          <a:p>
            <a:pPr lvl="1" algn="just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</a:pPr>
            <a:endParaRPr lang="en-ZA" altLang="en-US" sz="2000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1" algn="just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</a:pPr>
            <a:endParaRPr lang="en-ZA" altLang="en-US" sz="2000" dirty="0" smtClean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1" algn="just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</a:pPr>
            <a:endParaRPr lang="en-ZA" altLang="en-US" sz="2000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1" algn="just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Tx/>
              <a:buBlip>
                <a:blip r:embed="rId5"/>
              </a:buBlip>
            </a:pPr>
            <a:endParaRPr lang="en-ZA" altLang="en-US" sz="2000" dirty="0" smtClean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lvl="1" indent="0" algn="just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002060"/>
              </a:buClr>
              <a:buFont typeface="Arial" panose="020B0604020202020204" pitchFamily="34" charset="0"/>
              <a:buNone/>
            </a:pPr>
            <a:endParaRPr lang="en-ZA" altLang="en-US" sz="2000" dirty="0" smtClean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7112" y="1458905"/>
            <a:ext cx="3491880" cy="261891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7112" y="4149080"/>
            <a:ext cx="3491880" cy="232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202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2447602"/>
              </p:ext>
            </p:extLst>
          </p:nvPr>
        </p:nvGraphicFramePr>
        <p:xfrm>
          <a:off x="1" y="2"/>
          <a:ext cx="9143998" cy="6857997"/>
        </p:xfrm>
        <a:graphic>
          <a:graphicData uri="http://schemas.openxmlformats.org/drawingml/2006/table">
            <a:tbl>
              <a:tblPr firstRow="1" firstCol="1" bandRow="1"/>
              <a:tblGrid>
                <a:gridCol w="2980781"/>
                <a:gridCol w="2334886"/>
                <a:gridCol w="1959396"/>
                <a:gridCol w="1868935"/>
              </a:tblGrid>
              <a:tr h="1569425">
                <a:tc>
                  <a:txBody>
                    <a:bodyPr/>
                    <a:lstStyle/>
                    <a:p>
                      <a:pPr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endParaRPr lang="de-DE" sz="1600" b="1" kern="1200" dirty="0" smtClean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de-DE" sz="16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af-ZA" sz="16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ultivar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85623">
                            <a:shade val="30000"/>
                            <a:satMod val="115000"/>
                          </a:srgbClr>
                        </a:gs>
                        <a:gs pos="50000">
                          <a:srgbClr val="385623">
                            <a:shade val="67500"/>
                            <a:satMod val="115000"/>
                          </a:srgbClr>
                        </a:gs>
                        <a:gs pos="100000">
                          <a:srgbClr val="385623">
                            <a:shade val="100000"/>
                            <a:satMod val="115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af-ZA" sz="1600" b="1" dirty="0" smtClean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af-ZA" sz="1600" b="1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wart-stam 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deks 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85623">
                            <a:shade val="30000"/>
                            <a:satMod val="115000"/>
                          </a:srgbClr>
                        </a:gs>
                        <a:gs pos="50000">
                          <a:srgbClr val="385623">
                            <a:shade val="67500"/>
                            <a:satMod val="115000"/>
                          </a:srgbClr>
                        </a:gs>
                        <a:gs pos="100000">
                          <a:srgbClr val="385623">
                            <a:shade val="100000"/>
                            <a:satMod val="115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af-ZA" sz="1600" b="1" dirty="0" smtClean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af-ZA" sz="1600" b="1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wartstamindeks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af-ZA" sz="1600" b="1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af-ZA" sz="1600" b="1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ockey</a:t>
                      </a:r>
                      <a:r>
                        <a:rPr lang="af-ZA" sz="1600" b="1" baseline="30000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</a:t>
                      </a: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endParaRPr lang="af-ZA" sz="1600" b="1" dirty="0" smtClean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af-ZA" sz="1600" b="1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af-ZA" sz="1600" b="1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altro</a:t>
                      </a:r>
                      <a:r>
                        <a:rPr lang="af-ZA" sz="1600" b="1" baseline="30000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af-ZA" sz="1600" b="1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livo</a:t>
                      </a:r>
                      <a:r>
                        <a:rPr lang="af-ZA" sz="1600" b="1" baseline="30000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85623">
                            <a:shade val="30000"/>
                            <a:satMod val="115000"/>
                          </a:srgbClr>
                        </a:gs>
                        <a:gs pos="50000">
                          <a:srgbClr val="385623">
                            <a:shade val="67500"/>
                            <a:satMod val="115000"/>
                          </a:srgbClr>
                        </a:gs>
                        <a:gs pos="100000">
                          <a:srgbClr val="385623">
                            <a:shade val="100000"/>
                            <a:satMod val="115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af-ZA" sz="1600" b="1" dirty="0" smtClean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af-ZA" sz="1600" b="1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wartstam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af-ZA" sz="1600" b="1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eerstandsgroep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85623">
                            <a:shade val="30000"/>
                            <a:satMod val="115000"/>
                          </a:srgbClr>
                        </a:gs>
                        <a:gs pos="50000">
                          <a:srgbClr val="385623">
                            <a:shade val="67500"/>
                            <a:satMod val="115000"/>
                          </a:srgbClr>
                        </a:gs>
                        <a:gs pos="100000">
                          <a:srgbClr val="385623">
                            <a:shade val="100000"/>
                            <a:satMod val="115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9500">
                <a:tc>
                  <a:txBody>
                    <a:bodyPr/>
                    <a:lstStyle/>
                    <a:p>
                      <a:pPr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ola</a:t>
                      </a:r>
                      <a:r>
                        <a:rPr lang="af-ZA" sz="1600" b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50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kern="1200" baseline="300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6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kern="1200" baseline="300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6(j)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D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7054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B Tango 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v</a:t>
                      </a:r>
                      <a:r>
                        <a:rPr lang="af-ZA" sz="1600" kern="1200" baseline="300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4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w</a:t>
                      </a:r>
                      <a:r>
                        <a:rPr lang="af-ZA" sz="1600" kern="1200" baseline="300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4(j)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9500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amond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w</a:t>
                      </a:r>
                      <a:r>
                        <a:rPr lang="af-ZA" sz="1600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</a:t>
                      </a:r>
                      <a:r>
                        <a:rPr lang="af-ZA" sz="16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(jsi)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BF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9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af-ZA" sz="1600" b="1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uartz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kern="1200" baseline="300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9(j)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BD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9500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4Y90 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(jsi)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9500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Y91 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-mw</a:t>
                      </a:r>
                      <a:r>
                        <a:rPr lang="af-ZA" sz="1600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(jsi)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9500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3Y92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(i)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8623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Y93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(si)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C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8623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ola</a:t>
                      </a:r>
                      <a:r>
                        <a:rPr lang="af-ZA" sz="1600" b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555 TT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w</a:t>
                      </a:r>
                      <a:r>
                        <a:rPr lang="af-ZA" sz="1600" kern="1200" baseline="300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4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kern="1200" baseline="300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4(j)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8623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ola</a:t>
                      </a: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559 TT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(s)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BD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8623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ola</a:t>
                      </a: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650 TT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7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BD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7054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lpha TT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 smtClean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v-mw</a:t>
                      </a:r>
                      <a:r>
                        <a:rPr lang="af-ZA" sz="1600" baseline="30000" dirty="0" smtClean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8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8(j)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F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62972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ola</a:t>
                      </a: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350 TT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af-ZA" sz="1600" b="1" baseline="300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(jsi)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BDF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34821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0B24F4D-5016-437F-A9E1-A1974A8689EC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5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7809821" y="3108524"/>
            <a:ext cx="683642" cy="1152129"/>
          </a:xfrm>
          <a:prstGeom prst="ellipse">
            <a:avLst/>
          </a:prstGeom>
          <a:noFill/>
          <a:ln>
            <a:solidFill>
              <a:srgbClr val="E71C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99908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31038" y="398463"/>
            <a:ext cx="1665287" cy="519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Aanpasbaarheid:</a:t>
            </a: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6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9994" y="2708920"/>
            <a:ext cx="4574950" cy="3419999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73000"/>
              </a:srgbClr>
            </a:outerShdw>
          </a:effectLst>
        </p:spPr>
      </p:pic>
      <p:pic>
        <p:nvPicPr>
          <p:cNvPr id="29698" name="Picture 2" descr="Dohne Merino  shee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642245"/>
            <a:ext cx="4176464" cy="3132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535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7109516"/>
              </p:ext>
            </p:extLst>
          </p:nvPr>
        </p:nvGraphicFramePr>
        <p:xfrm>
          <a:off x="0" y="2"/>
          <a:ext cx="9144001" cy="6857997"/>
        </p:xfrm>
        <a:graphic>
          <a:graphicData uri="http://schemas.openxmlformats.org/drawingml/2006/table">
            <a:tbl>
              <a:tblPr firstRow="1" firstCol="1" bandRow="1"/>
              <a:tblGrid>
                <a:gridCol w="1555675"/>
                <a:gridCol w="701309"/>
                <a:gridCol w="1562437"/>
                <a:gridCol w="2642171"/>
                <a:gridCol w="2682409"/>
              </a:tblGrid>
              <a:tr h="1569425">
                <a:tc>
                  <a:txBody>
                    <a:bodyPr/>
                    <a:lstStyle/>
                    <a:p>
                      <a:pPr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de-DE" sz="16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af-ZA" sz="16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ultivar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5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ipe 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5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aar 1</a:t>
                      </a:r>
                      <a:r>
                        <a:rPr lang="af-ZA" sz="1600" b="1" baseline="300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te</a:t>
                      </a: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toets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5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oei-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riode 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e </a:t>
                      </a:r>
                      <a:r>
                        <a:rPr lang="af-ZA" sz="1600" b="1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ot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b="1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lom 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9 &amp; 20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562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e tot </a:t>
                      </a:r>
                      <a:r>
                        <a:rPr lang="af-ZA" sz="1600" b="1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indblom</a:t>
                      </a: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(Lang.)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2018 &amp; 19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5623"/>
                    </a:solidFill>
                  </a:tcPr>
                </a:tc>
              </a:tr>
              <a:tr h="389500">
                <a:tc>
                  <a:txBody>
                    <a:bodyPr/>
                    <a:lstStyle/>
                    <a:p>
                      <a:pPr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ola</a:t>
                      </a:r>
                      <a:r>
                        <a:rPr lang="af-ZA" sz="16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50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onv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09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at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at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427054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B Tango 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onv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3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roeg*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roeg*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</a:tr>
              <a:tr h="389500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amond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onv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5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roeg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roeg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</a:tr>
              <a:tr h="389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af-ZA" sz="1600" b="1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uartz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onv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8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noProof="0" dirty="0" err="1" smtClean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af-ZA" sz="1600" noProof="0" dirty="0" smtClean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vroeg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noProof="0" dirty="0" err="1" smtClean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af-ZA" sz="1600" noProof="0" dirty="0" smtClean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vroeg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</a:tr>
              <a:tr h="389500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4Y90 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L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6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err="1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err="1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af-ZA" sz="1600" kern="1200" noProof="0" dirty="0" err="1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r</a:t>
                      </a: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</a:tr>
              <a:tr h="389500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Y91 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L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6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at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at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389500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3Y92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75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L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7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err="1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 vroeg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err="1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vroeg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</a:tr>
              <a:tr h="408623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Y93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L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9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noProof="0" dirty="0" smtClean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at</a:t>
                      </a:r>
                      <a:r>
                        <a:rPr lang="af-ZA" sz="1600" baseline="30000" noProof="0" dirty="0" smtClean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9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noProof="0" dirty="0" smtClean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at</a:t>
                      </a:r>
                      <a:r>
                        <a:rPr lang="af-ZA" sz="1600" baseline="30000" noProof="0" dirty="0" smtClean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9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408623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kern="1200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ola</a:t>
                      </a:r>
                      <a:r>
                        <a:rPr lang="af-ZA" sz="16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555 TT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T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1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err="1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vroeg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err="1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vroeg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</a:tr>
              <a:tr h="408623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ola</a:t>
                      </a: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559 TT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T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4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err="1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vroeg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ium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</a:tr>
              <a:tr h="408623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ola</a:t>
                      </a: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650 TT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T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7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err="1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ium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</a:tr>
              <a:tr h="427054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lpha TT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T</a:t>
                      </a:r>
                      <a:endParaRPr lang="en-Z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7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err="1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vroeg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err="1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vroeg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</a:tr>
              <a:tr h="462972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ola</a:t>
                      </a:r>
                      <a:r>
                        <a:rPr lang="af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350 TT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T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18</a:t>
                      </a:r>
                      <a:endParaRPr lang="en-Z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kern="1200" noProof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roeg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af-ZA" sz="1600" noProof="0" dirty="0" smtClean="0"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roeg</a:t>
                      </a:r>
                      <a:endParaRPr lang="af-ZA" sz="16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262" marR="62262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  <p:sp>
        <p:nvSpPr>
          <p:cNvPr id="34821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0B24F4D-5016-437F-A9E1-A1974A8689EC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7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173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9029350"/>
              </p:ext>
            </p:extLst>
          </p:nvPr>
        </p:nvGraphicFramePr>
        <p:xfrm>
          <a:off x="177726" y="2668370"/>
          <a:ext cx="8714753" cy="37277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1489"/>
                </a:solidFill>
              </a:rPr>
              <a:t>Swartland: </a:t>
            </a:r>
            <a:r>
              <a:rPr lang="af-ZA" dirty="0" err="1" smtClean="0">
                <a:solidFill>
                  <a:srgbClr val="001489"/>
                </a:solidFill>
              </a:rPr>
              <a:t>Kultivargemiddeldes</a:t>
            </a:r>
            <a:endParaRPr lang="af-ZA" sz="1100" dirty="0">
              <a:solidFill>
                <a:srgbClr val="FF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11" name="Left Brace 10"/>
          <p:cNvSpPr/>
          <p:nvPr/>
        </p:nvSpPr>
        <p:spPr>
          <a:xfrm rot="5400000">
            <a:off x="1750772" y="1322961"/>
            <a:ext cx="383196" cy="2085557"/>
          </a:xfrm>
          <a:prstGeom prst="leftBrace">
            <a:avLst/>
          </a:prstGeom>
          <a:ln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4" name="Left Brace 13"/>
          <p:cNvSpPr/>
          <p:nvPr/>
        </p:nvSpPr>
        <p:spPr>
          <a:xfrm rot="5400000">
            <a:off x="4447282" y="953074"/>
            <a:ext cx="432048" cy="1927516"/>
          </a:xfrm>
          <a:prstGeom prst="leftBrac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1048666" y="1624444"/>
            <a:ext cx="17951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600" b="1" dirty="0" err="1" smtClean="0"/>
              <a:t>Konvensionele</a:t>
            </a:r>
            <a:r>
              <a:rPr lang="en-ZA" sz="1600" b="1" dirty="0" smtClean="0"/>
              <a:t> (+13%)</a:t>
            </a:r>
            <a:endParaRPr lang="en-ZA" sz="16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3599150" y="1277475"/>
            <a:ext cx="21283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600" b="1" dirty="0" smtClean="0"/>
              <a:t>CL (+22%)</a:t>
            </a:r>
            <a:endParaRPr lang="en-ZA" sz="1600" b="1" dirty="0"/>
          </a:p>
        </p:txBody>
      </p:sp>
      <p:sp>
        <p:nvSpPr>
          <p:cNvPr id="19" name="Oval 18"/>
          <p:cNvSpPr/>
          <p:nvPr/>
        </p:nvSpPr>
        <p:spPr>
          <a:xfrm>
            <a:off x="4355976" y="3087794"/>
            <a:ext cx="921977" cy="678188"/>
          </a:xfrm>
          <a:prstGeom prst="ellipse">
            <a:avLst/>
          </a:prstGeom>
          <a:noFill/>
          <a:ln>
            <a:solidFill>
              <a:srgbClr val="B5121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3347864" y="2886603"/>
            <a:ext cx="921977" cy="678188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5839197" y="3309372"/>
            <a:ext cx="849360" cy="576064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899592" y="2950546"/>
            <a:ext cx="1008112" cy="538623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5" name="Left Brace 14"/>
          <p:cNvSpPr/>
          <p:nvPr/>
        </p:nvSpPr>
        <p:spPr>
          <a:xfrm rot="5400000">
            <a:off x="7070566" y="1348313"/>
            <a:ext cx="432048" cy="2808312"/>
          </a:xfrm>
          <a:prstGeom prst="leftBrac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6216559" y="2167844"/>
            <a:ext cx="21283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f-ZA" sz="1600" b="1" dirty="0" smtClean="0"/>
              <a:t>TT</a:t>
            </a:r>
            <a:endParaRPr lang="en-ZA" sz="16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4300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1185863"/>
            <a:ext cx="92852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038" y="398463"/>
            <a:ext cx="1665287" cy="519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ZA" altLang="en-US" sz="2800" b="1" dirty="0" err="1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Opbrengs</a:t>
            </a:r>
            <a:r>
              <a:rPr lang="en-ZA" altLang="en-US" sz="2800" b="1" dirty="0" smtClean="0">
                <a:solidFill>
                  <a:srgbClr val="003399"/>
                </a:solidFill>
                <a:latin typeface="Century Gothic" panose="020B0502020202020204" pitchFamily="34" charset="0"/>
                <a:ea typeface="Adobe Arabic"/>
                <a:cs typeface="Adobe Arabic"/>
              </a:rPr>
              <a:t> 2018-2020: Swartland</a:t>
            </a:r>
          </a:p>
        </p:txBody>
      </p:sp>
      <p:sp>
        <p:nvSpPr>
          <p:cNvPr id="37893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C62C65F-51B3-4CCE-8761-F0103B3D0C53}" type="slidenum">
              <a:rPr lang="en-ZA" altLang="en-US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9</a:t>
            </a:fld>
            <a:endParaRPr lang="en-ZA" altLang="en-US" sz="1200" smtClean="0">
              <a:solidFill>
                <a:srgbClr val="898989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4014839"/>
              </p:ext>
            </p:extLst>
          </p:nvPr>
        </p:nvGraphicFramePr>
        <p:xfrm>
          <a:off x="0" y="21457"/>
          <a:ext cx="9144000" cy="683653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53712"/>
                <a:gridCol w="956634"/>
                <a:gridCol w="956634"/>
                <a:gridCol w="956634"/>
                <a:gridCol w="1563182"/>
                <a:gridCol w="393848"/>
                <a:gridCol w="1869508"/>
                <a:gridCol w="393848"/>
              </a:tblGrid>
              <a:tr h="39007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en-ZA" sz="1600" dirty="0">
                        <a:solidFill>
                          <a:srgbClr val="538135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effectLst/>
                          <a:latin typeface="Century Gothic" panose="020B0502020202020204" pitchFamily="34" charset="0"/>
                        </a:rPr>
                        <a:t>2018</a:t>
                      </a:r>
                      <a:endParaRPr lang="en-ZA" sz="1600" dirty="0">
                        <a:solidFill>
                          <a:srgbClr val="538135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</a:rPr>
                        <a:t>2019</a:t>
                      </a:r>
                      <a:endParaRPr lang="en-ZA" sz="1600">
                        <a:solidFill>
                          <a:srgbClr val="538135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</a:rPr>
                        <a:t>2020</a:t>
                      </a:r>
                      <a:endParaRPr lang="en-ZA" sz="1600">
                        <a:solidFill>
                          <a:srgbClr val="538135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</a:rPr>
                        <a:t>2018-2020</a:t>
                      </a:r>
                      <a:endParaRPr lang="en-ZA" sz="1600">
                        <a:solidFill>
                          <a:srgbClr val="538135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en-ZA" sz="1600">
                        <a:solidFill>
                          <a:srgbClr val="538135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</a:rPr>
                        <a:t>2019 &amp; 2020</a:t>
                      </a:r>
                      <a:endParaRPr lang="en-ZA" sz="1600">
                        <a:solidFill>
                          <a:srgbClr val="538135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en-ZA" sz="1600">
                        <a:solidFill>
                          <a:srgbClr val="538135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/>
                </a:tc>
              </a:tr>
              <a:tr h="37908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uartz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7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7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3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3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7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92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amond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7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7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4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7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9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92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B Tango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9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6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5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3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92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yola 50 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8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1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7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8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9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908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Konv. Gem.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5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6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3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6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7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</a:tr>
              <a:tr h="3792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Y90 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7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7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9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0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92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Y91 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9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2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2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3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6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92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3Y92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0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4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5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2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5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92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Y93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4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6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2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908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 Gem. 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6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9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2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</a:tr>
              <a:tr h="3792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lpha TT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5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4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7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7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6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9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6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92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yola 350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2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8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5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2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92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yola 650 TT 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8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5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7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6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6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92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yola 559 TT 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0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9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4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1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3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92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yola 555 TT 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8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3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4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5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4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92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yola 580 CT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8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9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5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908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T Gem.</a:t>
                      </a:r>
                      <a:endParaRPr lang="en-ZA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2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0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0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1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0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af-ZA" sz="16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7" name="Oval 6"/>
          <p:cNvSpPr/>
          <p:nvPr/>
        </p:nvSpPr>
        <p:spPr>
          <a:xfrm>
            <a:off x="2123728" y="2708919"/>
            <a:ext cx="1872208" cy="360041"/>
          </a:xfrm>
          <a:prstGeom prst="ellipse">
            <a:avLst/>
          </a:prstGeom>
          <a:noFill/>
          <a:ln>
            <a:solidFill>
              <a:srgbClr val="B5121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2987824" y="3470233"/>
            <a:ext cx="1008112" cy="360041"/>
          </a:xfrm>
          <a:prstGeom prst="ellipse">
            <a:avLst/>
          </a:prstGeom>
          <a:noFill/>
          <a:ln>
            <a:solidFill>
              <a:srgbClr val="B5121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2051720" y="1556554"/>
            <a:ext cx="2880320" cy="360041"/>
          </a:xfrm>
          <a:prstGeom prst="ellipse">
            <a:avLst/>
          </a:prstGeom>
          <a:noFill/>
          <a:ln>
            <a:solidFill>
              <a:srgbClr val="B5121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218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yPDc+YGAsVDnrAdBfm5OLomapWE3kVAqh9b2jawd28kRYNSZ2VM9Zq8jLnRQsKd+zm3flYlSQ3N6EyKkSMGAbtXZPDAgzPCqp12cLtaehhktX0tL2QJLqhJXT50rTZFve8mXKum9VLtDf8/Ef4PJE20Wfd9sEmg5jcWpaEZMyas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ExV0lgmBfxs4p/Ctn6PAZzkJrxNZh9dP"/>
  <p:tag name="SMARTBOX_SB8" val="TGX+G0PGAnUARCSWBtSV8A=="/>
  <p:tag name="SMARTBOX_SB7" val="QCFeyGRrGmX3AMjrtsQnCw==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2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3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4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CG-New PPT Master-01112012</Template>
  <TotalTime>43951</TotalTime>
  <Words>1398</Words>
  <Application>Microsoft Office PowerPoint</Application>
  <PresentationFormat>On-screen Show (4:3)</PresentationFormat>
  <Paragraphs>587</Paragraphs>
  <Slides>23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dobe Arabic</vt:lpstr>
      <vt:lpstr>Arial</vt:lpstr>
      <vt:lpstr>Calibri</vt:lpstr>
      <vt:lpstr>Century Gothic</vt:lpstr>
      <vt:lpstr>Times New Roman</vt:lpstr>
      <vt:lpstr>WCG-PPT Master-121022-amc</vt:lpstr>
      <vt:lpstr>Office Theme</vt:lpstr>
      <vt:lpstr>1_Office Theme</vt:lpstr>
      <vt:lpstr>1_WCG-PPT Master-121022-amc</vt:lpstr>
      <vt:lpstr>2_WCG-PPT Master-121022-amc</vt:lpstr>
      <vt:lpstr>3_WCG-PPT Master-121022-amc</vt:lpstr>
      <vt:lpstr>4_WCG-PPT Master-121022-amc</vt:lpstr>
      <vt:lpstr>think-cell Slide</vt:lpstr>
      <vt:lpstr>PowerPoint Presentation</vt:lpstr>
      <vt:lpstr>Hoe kies ek my kultivar?</vt:lpstr>
      <vt:lpstr>Wat is die belangrike vrae?</vt:lpstr>
      <vt:lpstr>Keuses?</vt:lpstr>
      <vt:lpstr>PowerPoint Presentation</vt:lpstr>
      <vt:lpstr>Aanpasbaarheid:</vt:lpstr>
      <vt:lpstr>PowerPoint Presentation</vt:lpstr>
      <vt:lpstr>Swartland: Kultivargemiddeldes</vt:lpstr>
      <vt:lpstr>Opbrengs 2018-2020: Swartland</vt:lpstr>
      <vt:lpstr>Aanpasbaarheid:</vt:lpstr>
      <vt:lpstr>Kom ons kyk terug na 2020 en vroeër:</vt:lpstr>
      <vt:lpstr>Kan ek die seisoen se potensiaal benut? 2020</vt:lpstr>
      <vt:lpstr>Kan ek die seisoen se potensiaal benut? 2019</vt:lpstr>
      <vt:lpstr>Kan ek die seisoen se potensiaal benut? 2018</vt:lpstr>
      <vt:lpstr>Drie seisoen </vt:lpstr>
      <vt:lpstr>Reënval tydens en na blom (60 dae) &amp; gemiddelde temperatuur:</vt:lpstr>
      <vt:lpstr>Reënval tydens en na blom (60 dae):</vt:lpstr>
      <vt:lpstr>Saaidatum:</vt:lpstr>
      <vt:lpstr>Saaidatum:</vt:lpstr>
      <vt:lpstr>Opsomming:</vt:lpstr>
      <vt:lpstr>Opsomming: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ylvanus du Plessis</dc:creator>
  <cp:keywords>POTX</cp:keywords>
  <cp:lastModifiedBy>Lombard, Piet</cp:lastModifiedBy>
  <cp:revision>432</cp:revision>
  <cp:lastPrinted>2020-02-10T12:18:58Z</cp:lastPrinted>
  <dcterms:created xsi:type="dcterms:W3CDTF">2017-07-31T06:28:37Z</dcterms:created>
  <dcterms:modified xsi:type="dcterms:W3CDTF">2021-05-27T18:13:42Z</dcterms:modified>
  <cp:category>CI</cp:category>
</cp:coreProperties>
</file>